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1"/>
  </p:notesMasterIdLst>
  <p:sldIdLst>
    <p:sldId id="268" r:id="rId2"/>
    <p:sldId id="269" r:id="rId3"/>
    <p:sldId id="280" r:id="rId4"/>
    <p:sldId id="281" r:id="rId5"/>
    <p:sldId id="276" r:id="rId6"/>
    <p:sldId id="277" r:id="rId7"/>
    <p:sldId id="267" r:id="rId8"/>
    <p:sldId id="261" r:id="rId9"/>
    <p:sldId id="274" r:id="rId10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87" d="100"/>
          <a:sy n="87" d="100"/>
        </p:scale>
        <p:origin x="-1062" y="-8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diagrams/_rels/data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3" Type="http://schemas.openxmlformats.org/officeDocument/2006/relationships/image" Target="../media/image8.jpg"/><Relationship Id="rId7" Type="http://schemas.openxmlformats.org/officeDocument/2006/relationships/image" Target="../media/image12.jpeg"/><Relationship Id="rId2" Type="http://schemas.openxmlformats.org/officeDocument/2006/relationships/image" Target="../media/image7.jpeg"/><Relationship Id="rId1" Type="http://schemas.openxmlformats.org/officeDocument/2006/relationships/image" Target="../media/image6.png"/><Relationship Id="rId6" Type="http://schemas.openxmlformats.org/officeDocument/2006/relationships/image" Target="../media/image11.jpeg"/><Relationship Id="rId11" Type="http://schemas.openxmlformats.org/officeDocument/2006/relationships/image" Target="../media/image16.jpeg"/><Relationship Id="rId5" Type="http://schemas.openxmlformats.org/officeDocument/2006/relationships/image" Target="../media/image10.png"/><Relationship Id="rId10" Type="http://schemas.openxmlformats.org/officeDocument/2006/relationships/image" Target="../media/image15.gif"/><Relationship Id="rId4" Type="http://schemas.openxmlformats.org/officeDocument/2006/relationships/image" Target="../media/image9.jpeg"/><Relationship Id="rId9" Type="http://schemas.openxmlformats.org/officeDocument/2006/relationships/image" Target="../media/image14.jpeg"/></Relationships>
</file>

<file path=ppt/diagrams/_rels/drawing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3" Type="http://schemas.openxmlformats.org/officeDocument/2006/relationships/image" Target="../media/image8.jpg"/><Relationship Id="rId7" Type="http://schemas.openxmlformats.org/officeDocument/2006/relationships/image" Target="../media/image12.jpeg"/><Relationship Id="rId2" Type="http://schemas.openxmlformats.org/officeDocument/2006/relationships/image" Target="../media/image7.jpeg"/><Relationship Id="rId1" Type="http://schemas.openxmlformats.org/officeDocument/2006/relationships/image" Target="../media/image6.png"/><Relationship Id="rId6" Type="http://schemas.openxmlformats.org/officeDocument/2006/relationships/image" Target="../media/image11.jpeg"/><Relationship Id="rId11" Type="http://schemas.openxmlformats.org/officeDocument/2006/relationships/image" Target="../media/image16.jpeg"/><Relationship Id="rId5" Type="http://schemas.openxmlformats.org/officeDocument/2006/relationships/image" Target="../media/image10.png"/><Relationship Id="rId10" Type="http://schemas.openxmlformats.org/officeDocument/2006/relationships/image" Target="../media/image15.gif"/><Relationship Id="rId4" Type="http://schemas.openxmlformats.org/officeDocument/2006/relationships/image" Target="../media/image9.jpeg"/><Relationship Id="rId9" Type="http://schemas.openxmlformats.org/officeDocument/2006/relationships/image" Target="../media/image14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B7570CB-AA7D-4DE1-A870-EA98E929BEF7}" type="doc">
      <dgm:prSet loTypeId="urn:microsoft.com/office/officeart/2005/8/layout/pList1#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4834C1BC-3449-4935-BE07-1C3062822ADE}">
      <dgm:prSet phldrT="[Текст]"/>
      <dgm:spPr/>
      <dgm:t>
        <a:bodyPr/>
        <a:lstStyle/>
        <a:p>
          <a:r>
            <a:rPr lang="ru-RU" dirty="0" smtClean="0">
              <a:solidFill>
                <a:schemeClr val="tx1">
                  <a:lumMod val="25000"/>
                </a:schemeClr>
              </a:solidFill>
              <a:latin typeface="Calibri" pitchFamily="34" charset="0"/>
            </a:rPr>
            <a:t>7 регионов России</a:t>
          </a:r>
          <a:endParaRPr lang="ru-RU" dirty="0">
            <a:solidFill>
              <a:schemeClr val="tx1">
                <a:lumMod val="25000"/>
              </a:schemeClr>
            </a:solidFill>
            <a:latin typeface="Calibri" pitchFamily="34" charset="0"/>
          </a:endParaRPr>
        </a:p>
      </dgm:t>
    </dgm:pt>
    <dgm:pt modelId="{845646AD-1A53-4513-91F3-DE8E9148313C}" type="parTrans" cxnId="{400BD3E3-AD8C-4C5B-8283-67D1DE19DA30}">
      <dgm:prSet/>
      <dgm:spPr/>
      <dgm:t>
        <a:bodyPr/>
        <a:lstStyle/>
        <a:p>
          <a:endParaRPr lang="ru-RU">
            <a:solidFill>
              <a:schemeClr val="tx1">
                <a:lumMod val="25000"/>
              </a:schemeClr>
            </a:solidFill>
          </a:endParaRPr>
        </a:p>
      </dgm:t>
    </dgm:pt>
    <dgm:pt modelId="{A343B637-EEDE-4D8A-94A5-6B0CC781EC76}" type="sibTrans" cxnId="{400BD3E3-AD8C-4C5B-8283-67D1DE19DA30}">
      <dgm:prSet/>
      <dgm:spPr/>
      <dgm:t>
        <a:bodyPr/>
        <a:lstStyle/>
        <a:p>
          <a:endParaRPr lang="ru-RU">
            <a:solidFill>
              <a:schemeClr val="tx1">
                <a:lumMod val="25000"/>
              </a:schemeClr>
            </a:solidFill>
          </a:endParaRPr>
        </a:p>
      </dgm:t>
    </dgm:pt>
    <dgm:pt modelId="{E72A3662-2C75-4152-901A-99C04907BC46}">
      <dgm:prSet phldrT="[Текст]"/>
      <dgm:spPr/>
      <dgm:t>
        <a:bodyPr/>
        <a:lstStyle/>
        <a:p>
          <a:r>
            <a:rPr lang="ru-RU" b="1" dirty="0" smtClean="0">
              <a:solidFill>
                <a:schemeClr val="tx1">
                  <a:lumMod val="25000"/>
                </a:schemeClr>
              </a:solidFill>
              <a:latin typeface="Calibri" pitchFamily="34" charset="0"/>
            </a:rPr>
            <a:t>5,1</a:t>
          </a:r>
          <a:r>
            <a:rPr lang="en-US" b="1" dirty="0" smtClean="0">
              <a:solidFill>
                <a:schemeClr val="tx1">
                  <a:lumMod val="25000"/>
                </a:schemeClr>
              </a:solidFill>
              <a:latin typeface="Calibri" pitchFamily="34" charset="0"/>
            </a:rPr>
            <a:t> </a:t>
          </a:r>
          <a:r>
            <a:rPr lang="ru-RU" b="1" dirty="0" smtClean="0">
              <a:solidFill>
                <a:schemeClr val="tx1">
                  <a:lumMod val="25000"/>
                </a:schemeClr>
              </a:solidFill>
              <a:latin typeface="Calibri" pitchFamily="34" charset="0"/>
            </a:rPr>
            <a:t> млн </a:t>
          </a:r>
          <a:r>
            <a:rPr lang="ru-RU" dirty="0" smtClean="0">
              <a:solidFill>
                <a:schemeClr val="tx1">
                  <a:lumMod val="25000"/>
                </a:schemeClr>
              </a:solidFill>
              <a:latin typeface="Calibri" pitchFamily="34" charset="0"/>
            </a:rPr>
            <a:t>обслуживаемого населения</a:t>
          </a:r>
          <a:endParaRPr lang="ru-RU" dirty="0">
            <a:solidFill>
              <a:schemeClr val="tx1">
                <a:lumMod val="25000"/>
              </a:schemeClr>
            </a:solidFill>
            <a:latin typeface="Calibri" pitchFamily="34" charset="0"/>
          </a:endParaRPr>
        </a:p>
      </dgm:t>
    </dgm:pt>
    <dgm:pt modelId="{9DFC01A5-B7FA-4549-92D3-C887123CCD9B}" type="parTrans" cxnId="{70E0D1C1-516F-45D2-85C9-554BE150F945}">
      <dgm:prSet/>
      <dgm:spPr/>
      <dgm:t>
        <a:bodyPr/>
        <a:lstStyle/>
        <a:p>
          <a:endParaRPr lang="ru-RU">
            <a:solidFill>
              <a:schemeClr val="tx1">
                <a:lumMod val="25000"/>
              </a:schemeClr>
            </a:solidFill>
          </a:endParaRPr>
        </a:p>
      </dgm:t>
    </dgm:pt>
    <dgm:pt modelId="{BA0A25A2-B4AC-49A4-8138-E103873C806A}" type="sibTrans" cxnId="{70E0D1C1-516F-45D2-85C9-554BE150F945}">
      <dgm:prSet/>
      <dgm:spPr/>
      <dgm:t>
        <a:bodyPr/>
        <a:lstStyle/>
        <a:p>
          <a:endParaRPr lang="ru-RU">
            <a:solidFill>
              <a:schemeClr val="tx1">
                <a:lumMod val="25000"/>
              </a:schemeClr>
            </a:solidFill>
          </a:endParaRPr>
        </a:p>
      </dgm:t>
    </dgm:pt>
    <dgm:pt modelId="{707E24E3-0B9F-41E6-96A0-B38CC14DB72B}">
      <dgm:prSet phldrT="[Текст]"/>
      <dgm:spPr/>
      <dgm:t>
        <a:bodyPr/>
        <a:lstStyle/>
        <a:p>
          <a:r>
            <a:rPr lang="ru-RU" b="0" dirty="0" smtClean="0">
              <a:solidFill>
                <a:schemeClr val="tx1">
                  <a:lumMod val="25000"/>
                </a:schemeClr>
              </a:solidFill>
              <a:latin typeface="Calibri" pitchFamily="34" charset="0"/>
            </a:rPr>
            <a:t>общая протяженность сетей водоснабжения и водоотведения - </a:t>
          </a:r>
          <a:r>
            <a:rPr lang="en-US" b="1" dirty="0" smtClean="0">
              <a:solidFill>
                <a:schemeClr val="tx1">
                  <a:lumMod val="25000"/>
                </a:schemeClr>
              </a:solidFill>
              <a:latin typeface="Calibri" pitchFamily="34" charset="0"/>
            </a:rPr>
            <a:t>1</a:t>
          </a:r>
          <a:r>
            <a:rPr lang="ru-RU" b="1" dirty="0" smtClean="0">
              <a:solidFill>
                <a:schemeClr val="tx1">
                  <a:lumMod val="25000"/>
                </a:schemeClr>
              </a:solidFill>
              <a:latin typeface="Calibri" pitchFamily="34" charset="0"/>
            </a:rPr>
            <a:t>4,7 тыс. км. </a:t>
          </a:r>
          <a:endParaRPr lang="ru-RU" dirty="0">
            <a:solidFill>
              <a:schemeClr val="tx1">
                <a:lumMod val="25000"/>
              </a:schemeClr>
            </a:solidFill>
            <a:latin typeface="Calibri" pitchFamily="34" charset="0"/>
          </a:endParaRPr>
        </a:p>
      </dgm:t>
    </dgm:pt>
    <dgm:pt modelId="{813F6EB8-5F4F-4298-8023-602CE62BF11F}" type="parTrans" cxnId="{D815CBC0-355D-4488-837D-630360CC9491}">
      <dgm:prSet/>
      <dgm:spPr/>
      <dgm:t>
        <a:bodyPr/>
        <a:lstStyle/>
        <a:p>
          <a:endParaRPr lang="ru-RU">
            <a:solidFill>
              <a:schemeClr val="tx1">
                <a:lumMod val="25000"/>
              </a:schemeClr>
            </a:solidFill>
          </a:endParaRPr>
        </a:p>
      </dgm:t>
    </dgm:pt>
    <dgm:pt modelId="{D2E7C621-C407-4CAD-B3B7-B993437009DF}" type="sibTrans" cxnId="{D815CBC0-355D-4488-837D-630360CC9491}">
      <dgm:prSet/>
      <dgm:spPr/>
      <dgm:t>
        <a:bodyPr/>
        <a:lstStyle/>
        <a:p>
          <a:endParaRPr lang="ru-RU">
            <a:solidFill>
              <a:schemeClr val="tx1">
                <a:lumMod val="25000"/>
              </a:schemeClr>
            </a:solidFill>
          </a:endParaRPr>
        </a:p>
      </dgm:t>
    </dgm:pt>
    <dgm:pt modelId="{32F2D8E0-946F-4044-962A-F7ED314AB63B}">
      <dgm:prSet phldrT="[Текст]"/>
      <dgm:spPr/>
      <dgm:t>
        <a:bodyPr/>
        <a:lstStyle/>
        <a:p>
          <a:r>
            <a:rPr lang="ru-RU" b="1" dirty="0" smtClean="0">
              <a:solidFill>
                <a:schemeClr val="tx1">
                  <a:lumMod val="25000"/>
                </a:schemeClr>
              </a:solidFill>
              <a:latin typeface="Calibri" pitchFamily="34" charset="0"/>
            </a:rPr>
            <a:t>562 млн. м3 </a:t>
          </a:r>
          <a:r>
            <a:rPr lang="ru-RU" dirty="0" smtClean="0">
              <a:solidFill>
                <a:schemeClr val="tx1">
                  <a:lumMod val="25000"/>
                </a:schemeClr>
              </a:solidFill>
              <a:latin typeface="Calibri" pitchFamily="34" charset="0"/>
            </a:rPr>
            <a:t>поданной воды ежегодно</a:t>
          </a:r>
          <a:endParaRPr lang="ru-RU" dirty="0">
            <a:solidFill>
              <a:schemeClr val="tx1">
                <a:lumMod val="25000"/>
              </a:schemeClr>
            </a:solidFill>
            <a:latin typeface="Calibri" pitchFamily="34" charset="0"/>
          </a:endParaRPr>
        </a:p>
      </dgm:t>
    </dgm:pt>
    <dgm:pt modelId="{DBF79CA0-B82F-484D-AA1F-F8A4692C6DE6}" type="parTrans" cxnId="{6BA959B6-E2C1-4D65-82B4-801B99301F69}">
      <dgm:prSet/>
      <dgm:spPr/>
      <dgm:t>
        <a:bodyPr/>
        <a:lstStyle/>
        <a:p>
          <a:endParaRPr lang="ru-RU">
            <a:solidFill>
              <a:schemeClr val="tx1">
                <a:lumMod val="25000"/>
              </a:schemeClr>
            </a:solidFill>
          </a:endParaRPr>
        </a:p>
      </dgm:t>
    </dgm:pt>
    <dgm:pt modelId="{8CBB2146-56F5-4D2D-8028-2B95106ADCC1}" type="sibTrans" cxnId="{6BA959B6-E2C1-4D65-82B4-801B99301F69}">
      <dgm:prSet/>
      <dgm:spPr/>
      <dgm:t>
        <a:bodyPr/>
        <a:lstStyle/>
        <a:p>
          <a:endParaRPr lang="ru-RU">
            <a:solidFill>
              <a:schemeClr val="tx1">
                <a:lumMod val="25000"/>
              </a:schemeClr>
            </a:solidFill>
          </a:endParaRPr>
        </a:p>
      </dgm:t>
    </dgm:pt>
    <dgm:pt modelId="{99BBF9D7-7E22-4EC3-B1D7-72791F91CB6C}">
      <dgm:prSet phldrT="[Текст]"/>
      <dgm:spPr/>
      <dgm:t>
        <a:bodyPr/>
        <a:lstStyle/>
        <a:p>
          <a:r>
            <a:rPr lang="en-US" b="1" dirty="0" smtClean="0">
              <a:solidFill>
                <a:schemeClr val="tx1">
                  <a:lumMod val="25000"/>
                </a:schemeClr>
              </a:solidFill>
              <a:latin typeface="Calibri" pitchFamily="34" charset="0"/>
            </a:rPr>
            <a:t>11</a:t>
          </a:r>
          <a:r>
            <a:rPr lang="ru-RU" b="1" dirty="0" smtClean="0">
              <a:solidFill>
                <a:schemeClr val="tx1">
                  <a:lumMod val="25000"/>
                </a:schemeClr>
              </a:solidFill>
              <a:latin typeface="Calibri" pitchFamily="34" charset="0"/>
            </a:rPr>
            <a:t>,0 тыс. </a:t>
          </a:r>
          <a:r>
            <a:rPr lang="ru-RU" dirty="0" smtClean="0">
              <a:solidFill>
                <a:schemeClr val="tx1">
                  <a:lumMod val="25000"/>
                </a:schemeClr>
              </a:solidFill>
              <a:latin typeface="Calibri" pitchFamily="34" charset="0"/>
            </a:rPr>
            <a:t>сотрудников</a:t>
          </a:r>
          <a:endParaRPr lang="ru-RU" dirty="0">
            <a:solidFill>
              <a:schemeClr val="tx1">
                <a:lumMod val="25000"/>
              </a:schemeClr>
            </a:solidFill>
            <a:latin typeface="Calibri" pitchFamily="34" charset="0"/>
          </a:endParaRPr>
        </a:p>
      </dgm:t>
    </dgm:pt>
    <dgm:pt modelId="{B3F5340F-9E23-4349-8CA7-D3C76334EA83}" type="parTrans" cxnId="{72F21794-E79B-4C5F-8E26-F06FB12ED0CB}">
      <dgm:prSet/>
      <dgm:spPr/>
      <dgm:t>
        <a:bodyPr/>
        <a:lstStyle/>
        <a:p>
          <a:endParaRPr lang="ru-RU">
            <a:solidFill>
              <a:schemeClr val="tx1">
                <a:lumMod val="25000"/>
              </a:schemeClr>
            </a:solidFill>
          </a:endParaRPr>
        </a:p>
      </dgm:t>
    </dgm:pt>
    <dgm:pt modelId="{99B1ECBA-0F26-458E-A466-93F93193699A}" type="sibTrans" cxnId="{72F21794-E79B-4C5F-8E26-F06FB12ED0CB}">
      <dgm:prSet/>
      <dgm:spPr/>
      <dgm:t>
        <a:bodyPr/>
        <a:lstStyle/>
        <a:p>
          <a:endParaRPr lang="ru-RU">
            <a:solidFill>
              <a:schemeClr val="tx1">
                <a:lumMod val="25000"/>
              </a:schemeClr>
            </a:solidFill>
          </a:endParaRPr>
        </a:p>
      </dgm:t>
    </dgm:pt>
    <dgm:pt modelId="{BF4C4E88-5D9F-46F1-A09D-AE3B8019A5C8}">
      <dgm:prSet phldrT="[Текст]"/>
      <dgm:spPr/>
      <dgm:t>
        <a:bodyPr/>
        <a:lstStyle/>
        <a:p>
          <a:r>
            <a:rPr lang="ru-RU" b="1" dirty="0" smtClean="0">
              <a:solidFill>
                <a:schemeClr val="tx1">
                  <a:lumMod val="25000"/>
                </a:schemeClr>
              </a:solidFill>
              <a:latin typeface="Calibri" pitchFamily="34" charset="0"/>
            </a:rPr>
            <a:t>19 млрд. рублей </a:t>
          </a:r>
          <a:r>
            <a:rPr lang="ru-RU" dirty="0" smtClean="0">
              <a:solidFill>
                <a:schemeClr val="tx1">
                  <a:lumMod val="25000"/>
                </a:schemeClr>
              </a:solidFill>
              <a:latin typeface="Calibri" pitchFamily="34" charset="0"/>
            </a:rPr>
            <a:t>инвестиций </a:t>
          </a:r>
          <a:endParaRPr lang="ru-RU" dirty="0">
            <a:solidFill>
              <a:schemeClr val="tx1">
                <a:lumMod val="25000"/>
              </a:schemeClr>
            </a:solidFill>
            <a:latin typeface="Calibri" pitchFamily="34" charset="0"/>
          </a:endParaRPr>
        </a:p>
      </dgm:t>
    </dgm:pt>
    <dgm:pt modelId="{2A691EB3-ECB7-4D33-8BE4-37036627887F}" type="parTrans" cxnId="{EC16BAD1-2787-4E12-A169-19C6AE8C2DD2}">
      <dgm:prSet/>
      <dgm:spPr/>
      <dgm:t>
        <a:bodyPr/>
        <a:lstStyle/>
        <a:p>
          <a:endParaRPr lang="ru-RU">
            <a:solidFill>
              <a:schemeClr val="tx1">
                <a:lumMod val="25000"/>
              </a:schemeClr>
            </a:solidFill>
          </a:endParaRPr>
        </a:p>
      </dgm:t>
    </dgm:pt>
    <dgm:pt modelId="{38E6BD1E-B684-4C97-ACA1-7DE3818092B4}" type="sibTrans" cxnId="{EC16BAD1-2787-4E12-A169-19C6AE8C2DD2}">
      <dgm:prSet/>
      <dgm:spPr/>
      <dgm:t>
        <a:bodyPr/>
        <a:lstStyle/>
        <a:p>
          <a:endParaRPr lang="ru-RU">
            <a:solidFill>
              <a:schemeClr val="tx1">
                <a:lumMod val="25000"/>
              </a:schemeClr>
            </a:solidFill>
          </a:endParaRPr>
        </a:p>
      </dgm:t>
    </dgm:pt>
    <dgm:pt modelId="{DFA8B0F3-5E1D-4024-A225-A68A1FAF37A9}">
      <dgm:prSet phldrT="[Текст]"/>
      <dgm:spPr/>
      <dgm:t>
        <a:bodyPr/>
        <a:lstStyle/>
        <a:p>
          <a:r>
            <a:rPr lang="ru-RU" b="1" dirty="0" smtClean="0">
              <a:solidFill>
                <a:schemeClr val="tx1">
                  <a:lumMod val="25000"/>
                </a:schemeClr>
              </a:solidFill>
              <a:latin typeface="Calibri" pitchFamily="34" charset="0"/>
            </a:rPr>
            <a:t>1949</a:t>
          </a:r>
          <a:r>
            <a:rPr lang="ru-RU" dirty="0" smtClean="0">
              <a:solidFill>
                <a:schemeClr val="tx1">
                  <a:lumMod val="25000"/>
                </a:schemeClr>
              </a:solidFill>
              <a:latin typeface="Calibri" pitchFamily="34" charset="0"/>
            </a:rPr>
            <a:t> – год основания</a:t>
          </a:r>
          <a:endParaRPr lang="ru-RU" dirty="0">
            <a:solidFill>
              <a:schemeClr val="tx1">
                <a:lumMod val="25000"/>
              </a:schemeClr>
            </a:solidFill>
            <a:latin typeface="Calibri" pitchFamily="34" charset="0"/>
          </a:endParaRPr>
        </a:p>
      </dgm:t>
    </dgm:pt>
    <dgm:pt modelId="{6165B7F9-AAD2-4327-A03F-A18C40E5C3FA}" type="parTrans" cxnId="{7633D530-2BC0-4D60-89D1-073F1F47A8C7}">
      <dgm:prSet/>
      <dgm:spPr/>
      <dgm:t>
        <a:bodyPr/>
        <a:lstStyle/>
        <a:p>
          <a:endParaRPr lang="ru-RU">
            <a:solidFill>
              <a:schemeClr val="tx1">
                <a:lumMod val="25000"/>
              </a:schemeClr>
            </a:solidFill>
          </a:endParaRPr>
        </a:p>
      </dgm:t>
    </dgm:pt>
    <dgm:pt modelId="{9FBA81B6-FBA9-4227-8F48-CA1BCFD68D45}" type="sibTrans" cxnId="{7633D530-2BC0-4D60-89D1-073F1F47A8C7}">
      <dgm:prSet/>
      <dgm:spPr/>
      <dgm:t>
        <a:bodyPr/>
        <a:lstStyle/>
        <a:p>
          <a:endParaRPr lang="ru-RU">
            <a:solidFill>
              <a:schemeClr val="tx1">
                <a:lumMod val="25000"/>
              </a:schemeClr>
            </a:solidFill>
          </a:endParaRPr>
        </a:p>
      </dgm:t>
    </dgm:pt>
    <dgm:pt modelId="{1C24E90D-6823-43B7-86FF-53C8A8EF51D1}">
      <dgm:prSet phldrT="[Текст]"/>
      <dgm:spPr/>
      <dgm:t>
        <a:bodyPr/>
        <a:lstStyle/>
        <a:p>
          <a:r>
            <a:rPr lang="ru-RU" b="1" dirty="0" smtClean="0">
              <a:solidFill>
                <a:schemeClr val="tx1">
                  <a:lumMod val="25000"/>
                </a:schemeClr>
              </a:solidFill>
              <a:latin typeface="Calibri" pitchFamily="34" charset="0"/>
            </a:rPr>
            <a:t>97% </a:t>
          </a:r>
          <a:r>
            <a:rPr lang="ru-RU" dirty="0" smtClean="0">
              <a:solidFill>
                <a:schemeClr val="tx1">
                  <a:lumMod val="25000"/>
                </a:schemeClr>
              </a:solidFill>
              <a:latin typeface="Calibri" pitchFamily="34" charset="0"/>
            </a:rPr>
            <a:t>- уровень собираемости платежей</a:t>
          </a:r>
          <a:endParaRPr lang="ru-RU" dirty="0">
            <a:solidFill>
              <a:schemeClr val="tx1">
                <a:lumMod val="25000"/>
              </a:schemeClr>
            </a:solidFill>
            <a:latin typeface="Calibri" pitchFamily="34" charset="0"/>
          </a:endParaRPr>
        </a:p>
      </dgm:t>
    </dgm:pt>
    <dgm:pt modelId="{338DA901-6505-4BB1-A64C-7AB5655B98B9}" type="parTrans" cxnId="{1F263619-F6CA-4E67-A089-6EAE0B04890B}">
      <dgm:prSet/>
      <dgm:spPr/>
      <dgm:t>
        <a:bodyPr/>
        <a:lstStyle/>
        <a:p>
          <a:endParaRPr lang="ru-RU">
            <a:solidFill>
              <a:schemeClr val="tx1">
                <a:lumMod val="25000"/>
              </a:schemeClr>
            </a:solidFill>
          </a:endParaRPr>
        </a:p>
      </dgm:t>
    </dgm:pt>
    <dgm:pt modelId="{47F3B402-F763-4ADF-AD2D-438DF8CDCE07}" type="sibTrans" cxnId="{1F263619-F6CA-4E67-A089-6EAE0B04890B}">
      <dgm:prSet/>
      <dgm:spPr/>
      <dgm:t>
        <a:bodyPr/>
        <a:lstStyle/>
        <a:p>
          <a:endParaRPr lang="ru-RU">
            <a:solidFill>
              <a:schemeClr val="tx1">
                <a:lumMod val="25000"/>
              </a:schemeClr>
            </a:solidFill>
          </a:endParaRPr>
        </a:p>
      </dgm:t>
    </dgm:pt>
    <dgm:pt modelId="{F3DE45D3-AE59-46D6-AAC7-C28EFE5076D1}">
      <dgm:prSet phldrT="[Текст]"/>
      <dgm:spPr/>
      <dgm:t>
        <a:bodyPr/>
        <a:lstStyle/>
        <a:p>
          <a:r>
            <a:rPr lang="ru-RU" b="0" dirty="0" smtClean="0">
              <a:solidFill>
                <a:schemeClr val="tx1"/>
              </a:solidFill>
              <a:latin typeface="Calibri" pitchFamily="34" charset="0"/>
            </a:rPr>
            <a:t>Кредитные линии ЕБРР на сумму </a:t>
          </a:r>
        </a:p>
        <a:p>
          <a:r>
            <a:rPr lang="en-US" b="1" dirty="0" smtClean="0">
              <a:solidFill>
                <a:schemeClr val="tx1"/>
              </a:solidFill>
              <a:latin typeface="Calibri" pitchFamily="34" charset="0"/>
            </a:rPr>
            <a:t>3</a:t>
          </a:r>
          <a:r>
            <a:rPr lang="ru-RU" b="1" dirty="0" smtClean="0">
              <a:solidFill>
                <a:schemeClr val="tx1"/>
              </a:solidFill>
              <a:latin typeface="Calibri" pitchFamily="34" charset="0"/>
            </a:rPr>
            <a:t> млрд. рублей</a:t>
          </a:r>
          <a:endParaRPr lang="ru-RU" b="1" dirty="0">
            <a:solidFill>
              <a:schemeClr val="tx1"/>
            </a:solidFill>
            <a:latin typeface="Calibri" pitchFamily="34" charset="0"/>
          </a:endParaRPr>
        </a:p>
      </dgm:t>
    </dgm:pt>
    <dgm:pt modelId="{A28B6EE0-3C04-422F-9A65-3B3D4EC48840}" type="parTrans" cxnId="{0745B1FE-D5AB-4AB0-BE10-411E13D93678}">
      <dgm:prSet/>
      <dgm:spPr/>
      <dgm:t>
        <a:bodyPr/>
        <a:lstStyle/>
        <a:p>
          <a:endParaRPr lang="ru-RU">
            <a:solidFill>
              <a:schemeClr val="tx1">
                <a:lumMod val="25000"/>
              </a:schemeClr>
            </a:solidFill>
          </a:endParaRPr>
        </a:p>
      </dgm:t>
    </dgm:pt>
    <dgm:pt modelId="{1B270763-7B64-4617-9C27-2F7607C1B03F}" type="sibTrans" cxnId="{0745B1FE-D5AB-4AB0-BE10-411E13D93678}">
      <dgm:prSet/>
      <dgm:spPr/>
      <dgm:t>
        <a:bodyPr/>
        <a:lstStyle/>
        <a:p>
          <a:endParaRPr lang="ru-RU">
            <a:solidFill>
              <a:schemeClr val="tx1">
                <a:lumMod val="25000"/>
              </a:schemeClr>
            </a:solidFill>
          </a:endParaRPr>
        </a:p>
      </dgm:t>
    </dgm:pt>
    <dgm:pt modelId="{8B289906-5C6D-4EC7-8594-4BA095CDD44B}">
      <dgm:prSet phldrT="[Текст]"/>
      <dgm:spPr/>
      <dgm:t>
        <a:bodyPr/>
        <a:lstStyle/>
        <a:p>
          <a:r>
            <a:rPr lang="ru-RU" b="0" dirty="0" smtClean="0">
              <a:solidFill>
                <a:schemeClr val="tx1"/>
              </a:solidFill>
              <a:latin typeface="Calibri" pitchFamily="34" charset="0"/>
            </a:rPr>
            <a:t>Облигационный </a:t>
          </a:r>
          <a:r>
            <a:rPr lang="ru-RU" b="0" dirty="0" err="1" smtClean="0">
              <a:solidFill>
                <a:schemeClr val="tx1"/>
              </a:solidFill>
              <a:latin typeface="Calibri" pitchFamily="34" charset="0"/>
            </a:rPr>
            <a:t>займ</a:t>
          </a:r>
          <a:r>
            <a:rPr lang="ru-RU" b="0" dirty="0" smtClean="0">
              <a:solidFill>
                <a:schemeClr val="tx1"/>
              </a:solidFill>
              <a:latin typeface="Calibri" pitchFamily="34" charset="0"/>
            </a:rPr>
            <a:t> на сумму </a:t>
          </a:r>
        </a:p>
        <a:p>
          <a:r>
            <a:rPr lang="ru-RU" b="1" dirty="0" smtClean="0">
              <a:solidFill>
                <a:schemeClr val="tx1"/>
              </a:solidFill>
              <a:latin typeface="Calibri" pitchFamily="34" charset="0"/>
            </a:rPr>
            <a:t>3 млрд. рублей</a:t>
          </a:r>
          <a:endParaRPr lang="ru-RU" b="0" dirty="0">
            <a:solidFill>
              <a:schemeClr val="tx1"/>
            </a:solidFill>
            <a:latin typeface="Calibri" pitchFamily="34" charset="0"/>
          </a:endParaRPr>
        </a:p>
      </dgm:t>
    </dgm:pt>
    <dgm:pt modelId="{F3E1A68F-ABDF-455D-926E-6FC3280801B7}" type="parTrans" cxnId="{4C744E86-9E69-48D4-A79A-5385C97F530A}">
      <dgm:prSet/>
      <dgm:spPr/>
      <dgm:t>
        <a:bodyPr/>
        <a:lstStyle/>
        <a:p>
          <a:endParaRPr lang="ru-RU">
            <a:solidFill>
              <a:schemeClr val="tx1">
                <a:lumMod val="25000"/>
              </a:schemeClr>
            </a:solidFill>
          </a:endParaRPr>
        </a:p>
      </dgm:t>
    </dgm:pt>
    <dgm:pt modelId="{9B1EE055-77FB-4CCA-B183-852F697F3919}" type="sibTrans" cxnId="{4C744E86-9E69-48D4-A79A-5385C97F530A}">
      <dgm:prSet/>
      <dgm:spPr/>
      <dgm:t>
        <a:bodyPr/>
        <a:lstStyle/>
        <a:p>
          <a:endParaRPr lang="ru-RU">
            <a:solidFill>
              <a:schemeClr val="tx1">
                <a:lumMod val="25000"/>
              </a:schemeClr>
            </a:solidFill>
          </a:endParaRPr>
        </a:p>
      </dgm:t>
    </dgm:pt>
    <dgm:pt modelId="{09A3AFCE-6366-4E9F-947C-BBF7AE3BA934}">
      <dgm:prSet phldrT="[Текст]"/>
      <dgm:spPr/>
      <dgm:t>
        <a:bodyPr/>
        <a:lstStyle/>
        <a:p>
          <a:r>
            <a:rPr lang="ru-RU" b="1" dirty="0" smtClean="0">
              <a:solidFill>
                <a:schemeClr val="tx1">
                  <a:lumMod val="25000"/>
                </a:schemeClr>
              </a:solidFill>
              <a:latin typeface="Calibri" pitchFamily="34" charset="0"/>
            </a:rPr>
            <a:t>23% </a:t>
          </a:r>
          <a:r>
            <a:rPr lang="ru-RU" dirty="0" smtClean="0">
              <a:solidFill>
                <a:schemeClr val="tx1">
                  <a:lumMod val="25000"/>
                </a:schemeClr>
              </a:solidFill>
              <a:latin typeface="Calibri" pitchFamily="34" charset="0"/>
            </a:rPr>
            <a:t>- доля на рынке частных водоканалов</a:t>
          </a:r>
          <a:endParaRPr lang="ru-RU" dirty="0">
            <a:solidFill>
              <a:schemeClr val="tx1">
                <a:lumMod val="25000"/>
              </a:schemeClr>
            </a:solidFill>
            <a:latin typeface="Calibri" pitchFamily="34" charset="0"/>
          </a:endParaRPr>
        </a:p>
      </dgm:t>
    </dgm:pt>
    <dgm:pt modelId="{B381CAD2-94F9-479C-B30A-C325BA60D2B3}" type="parTrans" cxnId="{373BC4C8-4D9E-4062-9841-1900DFE44507}">
      <dgm:prSet/>
      <dgm:spPr/>
      <dgm:t>
        <a:bodyPr/>
        <a:lstStyle/>
        <a:p>
          <a:endParaRPr lang="ru-RU">
            <a:solidFill>
              <a:schemeClr val="tx1">
                <a:lumMod val="25000"/>
              </a:schemeClr>
            </a:solidFill>
          </a:endParaRPr>
        </a:p>
      </dgm:t>
    </dgm:pt>
    <dgm:pt modelId="{C8030A47-7AB9-4362-BEEF-3AFD6DB8A2DD}" type="sibTrans" cxnId="{373BC4C8-4D9E-4062-9841-1900DFE44507}">
      <dgm:prSet/>
      <dgm:spPr/>
      <dgm:t>
        <a:bodyPr/>
        <a:lstStyle/>
        <a:p>
          <a:endParaRPr lang="ru-RU">
            <a:solidFill>
              <a:schemeClr val="tx1">
                <a:lumMod val="25000"/>
              </a:schemeClr>
            </a:solidFill>
          </a:endParaRPr>
        </a:p>
      </dgm:t>
    </dgm:pt>
    <dgm:pt modelId="{D198E65A-4BD3-4D51-9513-177E59F89996}">
      <dgm:prSet phldrT="[Текст]"/>
      <dgm:spPr/>
      <dgm:t>
        <a:bodyPr/>
        <a:lstStyle/>
        <a:p>
          <a:pPr algn="ctr"/>
          <a:r>
            <a:rPr lang="ru-RU" dirty="0" smtClean="0">
              <a:solidFill>
                <a:schemeClr val="tx1">
                  <a:lumMod val="25000"/>
                </a:schemeClr>
              </a:solidFill>
              <a:latin typeface="Calibri" pitchFamily="34" charset="0"/>
            </a:rPr>
            <a:t>Долгосрочный рейтинг </a:t>
          </a:r>
          <a:r>
            <a:rPr lang="ru-RU" b="1" dirty="0" smtClean="0">
              <a:solidFill>
                <a:schemeClr val="tx1">
                  <a:lumMod val="25000"/>
                </a:schemeClr>
              </a:solidFill>
              <a:latin typeface="Calibri" pitchFamily="34" charset="0"/>
            </a:rPr>
            <a:t>«ВВ-» </a:t>
          </a:r>
          <a:r>
            <a:rPr lang="ru-RU" dirty="0" smtClean="0">
              <a:solidFill>
                <a:schemeClr val="tx1">
                  <a:lumMod val="25000"/>
                </a:schemeClr>
              </a:solidFill>
              <a:latin typeface="Calibri" pitchFamily="34" charset="0"/>
            </a:rPr>
            <a:t>от </a:t>
          </a:r>
          <a:r>
            <a:rPr lang="ru-RU" dirty="0" err="1" smtClean="0">
              <a:solidFill>
                <a:schemeClr val="tx1">
                  <a:lumMod val="25000"/>
                </a:schemeClr>
              </a:solidFill>
              <a:latin typeface="Calibri" pitchFamily="34" charset="0"/>
            </a:rPr>
            <a:t>Fitch</a:t>
          </a:r>
          <a:r>
            <a:rPr lang="ru-RU" dirty="0" smtClean="0">
              <a:solidFill>
                <a:schemeClr val="tx1">
                  <a:lumMod val="25000"/>
                </a:schemeClr>
              </a:solidFill>
              <a:latin typeface="Calibri" pitchFamily="34" charset="0"/>
            </a:rPr>
            <a:t> </a:t>
          </a:r>
          <a:r>
            <a:rPr lang="en-US" dirty="0" smtClean="0">
              <a:solidFill>
                <a:schemeClr val="tx1">
                  <a:lumMod val="25000"/>
                </a:schemeClr>
              </a:solidFill>
              <a:latin typeface="Calibri" pitchFamily="34" charset="0"/>
            </a:rPr>
            <a:t>Ratings</a:t>
          </a:r>
          <a:endParaRPr lang="ru-RU" dirty="0">
            <a:solidFill>
              <a:schemeClr val="tx1">
                <a:lumMod val="25000"/>
              </a:schemeClr>
            </a:solidFill>
            <a:latin typeface="Calibri" pitchFamily="34" charset="0"/>
          </a:endParaRPr>
        </a:p>
      </dgm:t>
    </dgm:pt>
    <dgm:pt modelId="{52270F07-1781-408E-B051-90E31EBD62BE}" type="parTrans" cxnId="{3CB5F34E-ABD0-4530-A1CF-4B3A1C2FE967}">
      <dgm:prSet/>
      <dgm:spPr/>
      <dgm:t>
        <a:bodyPr/>
        <a:lstStyle/>
        <a:p>
          <a:endParaRPr lang="ru-RU">
            <a:solidFill>
              <a:schemeClr val="tx1">
                <a:lumMod val="25000"/>
              </a:schemeClr>
            </a:solidFill>
          </a:endParaRPr>
        </a:p>
      </dgm:t>
    </dgm:pt>
    <dgm:pt modelId="{B103DD6D-EEDE-4D32-BCCE-9B78DD3758C1}" type="sibTrans" cxnId="{3CB5F34E-ABD0-4530-A1CF-4B3A1C2FE967}">
      <dgm:prSet/>
      <dgm:spPr/>
      <dgm:t>
        <a:bodyPr/>
        <a:lstStyle/>
        <a:p>
          <a:endParaRPr lang="ru-RU">
            <a:solidFill>
              <a:schemeClr val="tx1">
                <a:lumMod val="25000"/>
              </a:schemeClr>
            </a:solidFill>
          </a:endParaRPr>
        </a:p>
      </dgm:t>
    </dgm:pt>
    <dgm:pt modelId="{B5260296-2BBF-42F2-A3A6-D1DB78BDA8C1}" type="pres">
      <dgm:prSet presAssocID="{FB7570CB-AA7D-4DE1-A870-EA98E929BEF7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4EFF7473-E22C-41EB-83FA-ED6F13FDDC17}" type="pres">
      <dgm:prSet presAssocID="{DFA8B0F3-5E1D-4024-A225-A68A1FAF37A9}" presName="compNode" presStyleCnt="0"/>
      <dgm:spPr/>
    </dgm:pt>
    <dgm:pt modelId="{C8120C7C-99E2-4BE4-88DC-820472F698F8}" type="pres">
      <dgm:prSet presAssocID="{DFA8B0F3-5E1D-4024-A225-A68A1FAF37A9}" presName="pictRect" presStyleLbl="node1" presStyleIdx="0" presStyleCnt="12"/>
      <dgm:spPr/>
      <dgm:t>
        <a:bodyPr/>
        <a:lstStyle/>
        <a:p>
          <a:endParaRPr lang="ru-RU"/>
        </a:p>
      </dgm:t>
    </dgm:pt>
    <dgm:pt modelId="{1DB459B7-2DF7-4428-A0A2-72403992C210}" type="pres">
      <dgm:prSet presAssocID="{DFA8B0F3-5E1D-4024-A225-A68A1FAF37A9}" presName="textRect" presStyleLbl="revTx" presStyleIdx="0" presStyleCnt="1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49A462C-BE91-47C3-8EA7-D5B3F033218D}" type="pres">
      <dgm:prSet presAssocID="{9FBA81B6-FBA9-4227-8F48-CA1BCFD68D45}" presName="sibTrans" presStyleLbl="sibTrans2D1" presStyleIdx="0" presStyleCnt="0"/>
      <dgm:spPr/>
      <dgm:t>
        <a:bodyPr/>
        <a:lstStyle/>
        <a:p>
          <a:endParaRPr lang="ru-RU"/>
        </a:p>
      </dgm:t>
    </dgm:pt>
    <dgm:pt modelId="{82CC4FB3-A687-4733-AABC-BA3F81FE08C9}" type="pres">
      <dgm:prSet presAssocID="{4834C1BC-3449-4935-BE07-1C3062822ADE}" presName="compNode" presStyleCnt="0"/>
      <dgm:spPr/>
    </dgm:pt>
    <dgm:pt modelId="{2EE758F3-77F4-4AAF-A3A6-9DF5C660D260}" type="pres">
      <dgm:prSet presAssocID="{4834C1BC-3449-4935-BE07-1C3062822ADE}" presName="pictRect" presStyleLbl="node1" presStyleIdx="1" presStyleCnt="12"/>
      <dgm:spPr>
        <a:blipFill dpi="0" rotWithShape="1">
          <a:blip xmlns:r="http://schemas.openxmlformats.org/officeDocument/2006/relationships" r:embed="rId1" cstate="print">
            <a:extLst/>
          </a:blip>
          <a:srcRect/>
          <a:stretch>
            <a:fillRect/>
          </a:stretch>
        </a:blipFill>
      </dgm:spPr>
      <dgm:t>
        <a:bodyPr/>
        <a:lstStyle/>
        <a:p>
          <a:endParaRPr lang="ru-RU"/>
        </a:p>
      </dgm:t>
    </dgm:pt>
    <dgm:pt modelId="{1BE1181E-C30F-4D41-AFD0-7DED4C767FB5}" type="pres">
      <dgm:prSet presAssocID="{4834C1BC-3449-4935-BE07-1C3062822ADE}" presName="textRect" presStyleLbl="revTx" presStyleIdx="1" presStyleCnt="1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8C516A8-1E6C-4D8A-B1AC-A459D2018623}" type="pres">
      <dgm:prSet presAssocID="{A343B637-EEDE-4D8A-94A5-6B0CC781EC76}" presName="sibTrans" presStyleLbl="sibTrans2D1" presStyleIdx="0" presStyleCnt="0"/>
      <dgm:spPr/>
      <dgm:t>
        <a:bodyPr/>
        <a:lstStyle/>
        <a:p>
          <a:endParaRPr lang="ru-RU"/>
        </a:p>
      </dgm:t>
    </dgm:pt>
    <dgm:pt modelId="{98B48AA3-545C-4A49-B660-1EFC1C781D79}" type="pres">
      <dgm:prSet presAssocID="{E72A3662-2C75-4152-901A-99C04907BC46}" presName="compNode" presStyleCnt="0"/>
      <dgm:spPr/>
    </dgm:pt>
    <dgm:pt modelId="{66AA693A-C4CE-4D06-A2FF-74A9CF0F6F33}" type="pres">
      <dgm:prSet presAssocID="{E72A3662-2C75-4152-901A-99C04907BC46}" presName="pictRect" presStyleLbl="node1" presStyleIdx="2" presStyleCnt="12"/>
      <dgm:spPr>
        <a:blipFill rotWithShape="0">
          <a:blip xmlns:r="http://schemas.openxmlformats.org/officeDocument/2006/relationships" r:embed="rId2"/>
          <a:stretch>
            <a:fillRect/>
          </a:stretch>
        </a:blipFill>
      </dgm:spPr>
    </dgm:pt>
    <dgm:pt modelId="{46A21219-899E-4624-8AE4-DE4ECEDB8AE2}" type="pres">
      <dgm:prSet presAssocID="{E72A3662-2C75-4152-901A-99C04907BC46}" presName="textRect" presStyleLbl="revTx" presStyleIdx="2" presStyleCnt="1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A153746-0CA2-4E08-9C2E-A25267823D09}" type="pres">
      <dgm:prSet presAssocID="{BA0A25A2-B4AC-49A4-8138-E103873C806A}" presName="sibTrans" presStyleLbl="sibTrans2D1" presStyleIdx="0" presStyleCnt="0"/>
      <dgm:spPr/>
      <dgm:t>
        <a:bodyPr/>
        <a:lstStyle/>
        <a:p>
          <a:endParaRPr lang="ru-RU"/>
        </a:p>
      </dgm:t>
    </dgm:pt>
    <dgm:pt modelId="{C2EC7C03-2CE4-44DB-80D1-036137E78947}" type="pres">
      <dgm:prSet presAssocID="{707E24E3-0B9F-41E6-96A0-B38CC14DB72B}" presName="compNode" presStyleCnt="0"/>
      <dgm:spPr/>
    </dgm:pt>
    <dgm:pt modelId="{BB52E210-9ABD-48EE-BCAE-467302C793B7}" type="pres">
      <dgm:prSet presAssocID="{707E24E3-0B9F-41E6-96A0-B38CC14DB72B}" presName="pictRect" presStyleLbl="node1" presStyleIdx="3" presStyleCnt="12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000" r="-2000"/>
          </a:stretch>
        </a:blipFill>
      </dgm:spPr>
      <dgm:t>
        <a:bodyPr/>
        <a:lstStyle/>
        <a:p>
          <a:endParaRPr lang="ru-RU"/>
        </a:p>
      </dgm:t>
    </dgm:pt>
    <dgm:pt modelId="{F103BCF1-FFD4-4FD5-85DC-FF88FC6A1CEB}" type="pres">
      <dgm:prSet presAssocID="{707E24E3-0B9F-41E6-96A0-B38CC14DB72B}" presName="textRect" presStyleLbl="revTx" presStyleIdx="3" presStyleCnt="1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B983564-E2E4-494F-B93A-5CA955634068}" type="pres">
      <dgm:prSet presAssocID="{D2E7C621-C407-4CAD-B3B7-B993437009DF}" presName="sibTrans" presStyleLbl="sibTrans2D1" presStyleIdx="0" presStyleCnt="0"/>
      <dgm:spPr/>
      <dgm:t>
        <a:bodyPr/>
        <a:lstStyle/>
        <a:p>
          <a:endParaRPr lang="ru-RU"/>
        </a:p>
      </dgm:t>
    </dgm:pt>
    <dgm:pt modelId="{DC962A45-1D51-4BCC-8472-CEDE17D252DD}" type="pres">
      <dgm:prSet presAssocID="{32F2D8E0-946F-4044-962A-F7ED314AB63B}" presName="compNode" presStyleCnt="0"/>
      <dgm:spPr/>
    </dgm:pt>
    <dgm:pt modelId="{320110B4-9566-4672-8059-7044DBF2B1B7}" type="pres">
      <dgm:prSet presAssocID="{32F2D8E0-946F-4044-962A-F7ED314AB63B}" presName="pictRect" presStyleLbl="node1" presStyleIdx="4" presStyleCnt="12" custLinFactNeighborX="-1895"/>
      <dgm:spPr>
        <a:blipFill rotWithShape="0">
          <a:blip xmlns:r="http://schemas.openxmlformats.org/officeDocument/2006/relationships" r:embed="rId4"/>
          <a:stretch>
            <a:fillRect/>
          </a:stretch>
        </a:blipFill>
      </dgm:spPr>
    </dgm:pt>
    <dgm:pt modelId="{EDC1CF00-63CD-4F2C-9FB0-48F83BA51EC1}" type="pres">
      <dgm:prSet presAssocID="{32F2D8E0-946F-4044-962A-F7ED314AB63B}" presName="textRect" presStyleLbl="revTx" presStyleIdx="4" presStyleCnt="1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01F771F-FD42-4627-94F7-2892933BEAF3}" type="pres">
      <dgm:prSet presAssocID="{8CBB2146-56F5-4D2D-8028-2B95106ADCC1}" presName="sibTrans" presStyleLbl="sibTrans2D1" presStyleIdx="0" presStyleCnt="0"/>
      <dgm:spPr/>
      <dgm:t>
        <a:bodyPr/>
        <a:lstStyle/>
        <a:p>
          <a:endParaRPr lang="ru-RU"/>
        </a:p>
      </dgm:t>
    </dgm:pt>
    <dgm:pt modelId="{318CAA21-F123-44C0-9891-B136DE4BA10C}" type="pres">
      <dgm:prSet presAssocID="{09A3AFCE-6366-4E9F-947C-BBF7AE3BA934}" presName="compNode" presStyleCnt="0"/>
      <dgm:spPr/>
    </dgm:pt>
    <dgm:pt modelId="{2CA407B6-B0BA-4366-9938-EB9CF4407804}" type="pres">
      <dgm:prSet presAssocID="{09A3AFCE-6366-4E9F-947C-BBF7AE3BA934}" presName="pictRect" presStyleLbl="node1" presStyleIdx="5" presStyleCnt="12" custLinFactNeighborX="2161"/>
      <dgm:spPr>
        <a:blipFill dpi="0" rotWithShape="1"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23000" b="-13000"/>
          </a:stretch>
        </a:blipFill>
      </dgm:spPr>
      <dgm:t>
        <a:bodyPr/>
        <a:lstStyle/>
        <a:p>
          <a:endParaRPr lang="ru-RU"/>
        </a:p>
      </dgm:t>
    </dgm:pt>
    <dgm:pt modelId="{0EBA3C78-C806-41D7-A535-01541DF82281}" type="pres">
      <dgm:prSet presAssocID="{09A3AFCE-6366-4E9F-947C-BBF7AE3BA934}" presName="textRect" presStyleLbl="revTx" presStyleIdx="5" presStyleCnt="1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6DA7333-8C50-4056-A1C5-E33CE447A8D9}" type="pres">
      <dgm:prSet presAssocID="{C8030A47-7AB9-4362-BEEF-3AFD6DB8A2DD}" presName="sibTrans" presStyleLbl="sibTrans2D1" presStyleIdx="0" presStyleCnt="0"/>
      <dgm:spPr/>
      <dgm:t>
        <a:bodyPr/>
        <a:lstStyle/>
        <a:p>
          <a:endParaRPr lang="ru-RU"/>
        </a:p>
      </dgm:t>
    </dgm:pt>
    <dgm:pt modelId="{BA798EF6-B45A-40DC-9374-25B5FC57043B}" type="pres">
      <dgm:prSet presAssocID="{99BBF9D7-7E22-4EC3-B1D7-72791F91CB6C}" presName="compNode" presStyleCnt="0"/>
      <dgm:spPr/>
    </dgm:pt>
    <dgm:pt modelId="{2976FE89-286E-4643-B8FE-2FBCFE043856}" type="pres">
      <dgm:prSet presAssocID="{99BBF9D7-7E22-4EC3-B1D7-72791F91CB6C}" presName="pictRect" presStyleLbl="node1" presStyleIdx="6" presStyleCnt="12"/>
      <dgm:spPr>
        <a:blipFill rotWithShape="0">
          <a:blip xmlns:r="http://schemas.openxmlformats.org/officeDocument/2006/relationships" r:embed="rId6"/>
          <a:stretch>
            <a:fillRect/>
          </a:stretch>
        </a:blipFill>
      </dgm:spPr>
    </dgm:pt>
    <dgm:pt modelId="{EA3CA750-9746-4E03-A406-CB57002BBCDC}" type="pres">
      <dgm:prSet presAssocID="{99BBF9D7-7E22-4EC3-B1D7-72791F91CB6C}" presName="textRect" presStyleLbl="revTx" presStyleIdx="6" presStyleCnt="1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7810B2C-C422-480F-810A-8478A3CA4DC7}" type="pres">
      <dgm:prSet presAssocID="{99B1ECBA-0F26-458E-A466-93F93193699A}" presName="sibTrans" presStyleLbl="sibTrans2D1" presStyleIdx="0" presStyleCnt="0"/>
      <dgm:spPr/>
      <dgm:t>
        <a:bodyPr/>
        <a:lstStyle/>
        <a:p>
          <a:endParaRPr lang="ru-RU"/>
        </a:p>
      </dgm:t>
    </dgm:pt>
    <dgm:pt modelId="{E616B97E-0750-4586-AEE5-B6FEFBE00AA2}" type="pres">
      <dgm:prSet presAssocID="{BF4C4E88-5D9F-46F1-A09D-AE3B8019A5C8}" presName="compNode" presStyleCnt="0"/>
      <dgm:spPr/>
    </dgm:pt>
    <dgm:pt modelId="{ADF2977F-A2B0-4C3D-AF2F-E33C229384F8}" type="pres">
      <dgm:prSet presAssocID="{BF4C4E88-5D9F-46F1-A09D-AE3B8019A5C8}" presName="pictRect" presStyleLbl="node1" presStyleIdx="7" presStyleCnt="12"/>
      <dgm:spPr>
        <a:blipFill rotWithShape="0">
          <a:blip xmlns:r="http://schemas.openxmlformats.org/officeDocument/2006/relationships" r:embed="rId7"/>
          <a:stretch>
            <a:fillRect/>
          </a:stretch>
        </a:blipFill>
      </dgm:spPr>
    </dgm:pt>
    <dgm:pt modelId="{CEE86B77-B243-41C5-9FA0-F39B3E59171B}" type="pres">
      <dgm:prSet presAssocID="{BF4C4E88-5D9F-46F1-A09D-AE3B8019A5C8}" presName="textRect" presStyleLbl="revTx" presStyleIdx="7" presStyleCnt="1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7C1C803-C46F-4338-8A83-BEF4E4D870DA}" type="pres">
      <dgm:prSet presAssocID="{38E6BD1E-B684-4C97-ACA1-7DE3818092B4}" presName="sibTrans" presStyleLbl="sibTrans2D1" presStyleIdx="0" presStyleCnt="0"/>
      <dgm:spPr/>
      <dgm:t>
        <a:bodyPr/>
        <a:lstStyle/>
        <a:p>
          <a:endParaRPr lang="ru-RU"/>
        </a:p>
      </dgm:t>
    </dgm:pt>
    <dgm:pt modelId="{041AD8B8-A472-4B64-9DA9-2DDD9F3652E8}" type="pres">
      <dgm:prSet presAssocID="{1C24E90D-6823-43B7-86FF-53C8A8EF51D1}" presName="compNode" presStyleCnt="0"/>
      <dgm:spPr/>
    </dgm:pt>
    <dgm:pt modelId="{A34D304F-6115-413B-A224-293E8558C570}" type="pres">
      <dgm:prSet presAssocID="{1C24E90D-6823-43B7-86FF-53C8A8EF51D1}" presName="pictRect" presStyleLbl="node1" presStyleIdx="8" presStyleCnt="12"/>
      <dgm:spPr>
        <a:blipFill>
          <a:blip xmlns:r="http://schemas.openxmlformats.org/officeDocument/2006/relationships"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4000" b="-4000"/>
          </a:stretch>
        </a:blipFill>
      </dgm:spPr>
      <dgm:t>
        <a:bodyPr/>
        <a:lstStyle/>
        <a:p>
          <a:endParaRPr lang="ru-RU"/>
        </a:p>
      </dgm:t>
    </dgm:pt>
    <dgm:pt modelId="{BA80E4CF-345E-40CA-A519-DAE7E573169F}" type="pres">
      <dgm:prSet presAssocID="{1C24E90D-6823-43B7-86FF-53C8A8EF51D1}" presName="textRect" presStyleLbl="revTx" presStyleIdx="8" presStyleCnt="1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8256F0E-B0EA-44BD-8D37-921DB20D12D5}" type="pres">
      <dgm:prSet presAssocID="{47F3B402-F763-4ADF-AD2D-438DF8CDCE07}" presName="sibTrans" presStyleLbl="sibTrans2D1" presStyleIdx="0" presStyleCnt="0"/>
      <dgm:spPr/>
      <dgm:t>
        <a:bodyPr/>
        <a:lstStyle/>
        <a:p>
          <a:endParaRPr lang="ru-RU"/>
        </a:p>
      </dgm:t>
    </dgm:pt>
    <dgm:pt modelId="{DDD6668F-3E85-4B1A-A1AA-8C246EA9CFC3}" type="pres">
      <dgm:prSet presAssocID="{F3DE45D3-AE59-46D6-AAC7-C28EFE5076D1}" presName="compNode" presStyleCnt="0"/>
      <dgm:spPr/>
    </dgm:pt>
    <dgm:pt modelId="{69D8A49E-DC36-44BB-813C-CFA864B85A00}" type="pres">
      <dgm:prSet presAssocID="{F3DE45D3-AE59-46D6-AAC7-C28EFE5076D1}" presName="pictRect" presStyleLbl="node1" presStyleIdx="9" presStyleCnt="12"/>
      <dgm:spPr>
        <a:blipFill rotWithShape="0">
          <a:blip xmlns:r="http://schemas.openxmlformats.org/officeDocument/2006/relationships" r:embed="rId9"/>
          <a:stretch>
            <a:fillRect/>
          </a:stretch>
        </a:blipFill>
      </dgm:spPr>
      <dgm:t>
        <a:bodyPr/>
        <a:lstStyle/>
        <a:p>
          <a:endParaRPr lang="ru-RU"/>
        </a:p>
      </dgm:t>
    </dgm:pt>
    <dgm:pt modelId="{CB009537-3FB5-4E73-A9D1-D90A46BC6D4C}" type="pres">
      <dgm:prSet presAssocID="{F3DE45D3-AE59-46D6-AAC7-C28EFE5076D1}" presName="textRect" presStyleLbl="revTx" presStyleIdx="9" presStyleCnt="1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411BA13-81CA-416F-8F90-A4EF67DF1202}" type="pres">
      <dgm:prSet presAssocID="{1B270763-7B64-4617-9C27-2F7607C1B03F}" presName="sibTrans" presStyleLbl="sibTrans2D1" presStyleIdx="0" presStyleCnt="0"/>
      <dgm:spPr/>
      <dgm:t>
        <a:bodyPr/>
        <a:lstStyle/>
        <a:p>
          <a:endParaRPr lang="ru-RU"/>
        </a:p>
      </dgm:t>
    </dgm:pt>
    <dgm:pt modelId="{43AE1234-A782-4F3A-BA29-A64F8027A008}" type="pres">
      <dgm:prSet presAssocID="{8B289906-5C6D-4EC7-8594-4BA095CDD44B}" presName="compNode" presStyleCnt="0"/>
      <dgm:spPr/>
    </dgm:pt>
    <dgm:pt modelId="{64634C9D-A175-4D8F-AA64-B17FDEB2138B}" type="pres">
      <dgm:prSet presAssocID="{8B289906-5C6D-4EC7-8594-4BA095CDD44B}" presName="pictRect" presStyleLbl="node1" presStyleIdx="10" presStyleCnt="12"/>
      <dgm:spPr>
        <a:blipFill rotWithShape="0">
          <a:blip xmlns:r="http://schemas.openxmlformats.org/officeDocument/2006/relationships" r:embed="rId10"/>
          <a:stretch>
            <a:fillRect/>
          </a:stretch>
        </a:blipFill>
      </dgm:spPr>
      <dgm:t>
        <a:bodyPr/>
        <a:lstStyle/>
        <a:p>
          <a:endParaRPr lang="ru-RU"/>
        </a:p>
      </dgm:t>
    </dgm:pt>
    <dgm:pt modelId="{2887C270-E3F8-4424-AFED-F7FE4420B783}" type="pres">
      <dgm:prSet presAssocID="{8B289906-5C6D-4EC7-8594-4BA095CDD44B}" presName="textRect" presStyleLbl="revTx" presStyleIdx="10" presStyleCnt="1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5840256-0CE3-431E-9B86-D054EDBC4B6E}" type="pres">
      <dgm:prSet presAssocID="{9B1EE055-77FB-4CCA-B183-852F697F3919}" presName="sibTrans" presStyleLbl="sibTrans2D1" presStyleIdx="0" presStyleCnt="0"/>
      <dgm:spPr/>
      <dgm:t>
        <a:bodyPr/>
        <a:lstStyle/>
        <a:p>
          <a:endParaRPr lang="ru-RU"/>
        </a:p>
      </dgm:t>
    </dgm:pt>
    <dgm:pt modelId="{57B06AF6-815B-4E43-BD97-062EF9E67D03}" type="pres">
      <dgm:prSet presAssocID="{D198E65A-4BD3-4D51-9513-177E59F89996}" presName="compNode" presStyleCnt="0"/>
      <dgm:spPr/>
    </dgm:pt>
    <dgm:pt modelId="{5234F61C-8783-47A0-91EE-EEC8D3DDEEA9}" type="pres">
      <dgm:prSet presAssocID="{D198E65A-4BD3-4D51-9513-177E59F89996}" presName="pictRect" presStyleLbl="node1" presStyleIdx="11" presStyleCnt="12"/>
      <dgm:spPr>
        <a:blipFill rotWithShape="0">
          <a:blip xmlns:r="http://schemas.openxmlformats.org/officeDocument/2006/relationships" r:embed="rId11"/>
          <a:stretch>
            <a:fillRect/>
          </a:stretch>
        </a:blipFill>
      </dgm:spPr>
      <dgm:t>
        <a:bodyPr/>
        <a:lstStyle/>
        <a:p>
          <a:endParaRPr lang="ru-RU"/>
        </a:p>
      </dgm:t>
    </dgm:pt>
    <dgm:pt modelId="{151246F4-C389-451E-BA75-0A6FF3CE2193}" type="pres">
      <dgm:prSet presAssocID="{D198E65A-4BD3-4D51-9513-177E59F89996}" presName="textRect" presStyleLbl="revTx" presStyleIdx="11" presStyleCnt="1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B6FDF50C-FEC0-4B03-9B8C-84B69BC773D2}" type="presOf" srcId="{1C24E90D-6823-43B7-86FF-53C8A8EF51D1}" destId="{BA80E4CF-345E-40CA-A519-DAE7E573169F}" srcOrd="0" destOrd="0" presId="urn:microsoft.com/office/officeart/2005/8/layout/pList1#2"/>
    <dgm:cxn modelId="{BCA418B0-3520-4EA8-B10D-262F173CE4E8}" type="presOf" srcId="{99B1ECBA-0F26-458E-A466-93F93193699A}" destId="{17810B2C-C422-480F-810A-8478A3CA4DC7}" srcOrd="0" destOrd="0" presId="urn:microsoft.com/office/officeart/2005/8/layout/pList1#2"/>
    <dgm:cxn modelId="{F1EFDF1F-0FDF-4544-9539-1CF477E563D2}" type="presOf" srcId="{C8030A47-7AB9-4362-BEEF-3AFD6DB8A2DD}" destId="{76DA7333-8C50-4056-A1C5-E33CE447A8D9}" srcOrd="0" destOrd="0" presId="urn:microsoft.com/office/officeart/2005/8/layout/pList1#2"/>
    <dgm:cxn modelId="{373BC4C8-4D9E-4062-9841-1900DFE44507}" srcId="{FB7570CB-AA7D-4DE1-A870-EA98E929BEF7}" destId="{09A3AFCE-6366-4E9F-947C-BBF7AE3BA934}" srcOrd="5" destOrd="0" parTransId="{B381CAD2-94F9-479C-B30A-C325BA60D2B3}" sibTransId="{C8030A47-7AB9-4362-BEEF-3AFD6DB8A2DD}"/>
    <dgm:cxn modelId="{7F9DA4EE-A62D-406B-9600-9AC5AF5A91AD}" type="presOf" srcId="{8CBB2146-56F5-4D2D-8028-2B95106ADCC1}" destId="{F01F771F-FD42-4627-94F7-2892933BEAF3}" srcOrd="0" destOrd="0" presId="urn:microsoft.com/office/officeart/2005/8/layout/pList1#2"/>
    <dgm:cxn modelId="{41DA00A0-064C-4E22-9180-47E78AFA7220}" type="presOf" srcId="{47F3B402-F763-4ADF-AD2D-438DF8CDCE07}" destId="{E8256F0E-B0EA-44BD-8D37-921DB20D12D5}" srcOrd="0" destOrd="0" presId="urn:microsoft.com/office/officeart/2005/8/layout/pList1#2"/>
    <dgm:cxn modelId="{08E1D4FF-9322-4B70-8E93-1F8A12CF5D4E}" type="presOf" srcId="{38E6BD1E-B684-4C97-ACA1-7DE3818092B4}" destId="{57C1C803-C46F-4338-8A83-BEF4E4D870DA}" srcOrd="0" destOrd="0" presId="urn:microsoft.com/office/officeart/2005/8/layout/pList1#2"/>
    <dgm:cxn modelId="{D57BBE8D-8884-431F-A619-435A3B6BE062}" type="presOf" srcId="{99BBF9D7-7E22-4EC3-B1D7-72791F91CB6C}" destId="{EA3CA750-9746-4E03-A406-CB57002BBCDC}" srcOrd="0" destOrd="0" presId="urn:microsoft.com/office/officeart/2005/8/layout/pList1#2"/>
    <dgm:cxn modelId="{0745B1FE-D5AB-4AB0-BE10-411E13D93678}" srcId="{FB7570CB-AA7D-4DE1-A870-EA98E929BEF7}" destId="{F3DE45D3-AE59-46D6-AAC7-C28EFE5076D1}" srcOrd="9" destOrd="0" parTransId="{A28B6EE0-3C04-422F-9A65-3B3D4EC48840}" sibTransId="{1B270763-7B64-4617-9C27-2F7607C1B03F}"/>
    <dgm:cxn modelId="{45DD6637-9948-49DB-B3E4-B2A405F85E00}" type="presOf" srcId="{1B270763-7B64-4617-9C27-2F7607C1B03F}" destId="{8411BA13-81CA-416F-8F90-A4EF67DF1202}" srcOrd="0" destOrd="0" presId="urn:microsoft.com/office/officeart/2005/8/layout/pList1#2"/>
    <dgm:cxn modelId="{7EE737B2-9447-4E4C-A44F-659D68A3E713}" type="presOf" srcId="{09A3AFCE-6366-4E9F-947C-BBF7AE3BA934}" destId="{0EBA3C78-C806-41D7-A535-01541DF82281}" srcOrd="0" destOrd="0" presId="urn:microsoft.com/office/officeart/2005/8/layout/pList1#2"/>
    <dgm:cxn modelId="{CC95133D-1D4B-4182-8A28-D89B3C13B47D}" type="presOf" srcId="{BA0A25A2-B4AC-49A4-8138-E103873C806A}" destId="{AA153746-0CA2-4E08-9C2E-A25267823D09}" srcOrd="0" destOrd="0" presId="urn:microsoft.com/office/officeart/2005/8/layout/pList1#2"/>
    <dgm:cxn modelId="{7633D530-2BC0-4D60-89D1-073F1F47A8C7}" srcId="{FB7570CB-AA7D-4DE1-A870-EA98E929BEF7}" destId="{DFA8B0F3-5E1D-4024-A225-A68A1FAF37A9}" srcOrd="0" destOrd="0" parTransId="{6165B7F9-AAD2-4327-A03F-A18C40E5C3FA}" sibTransId="{9FBA81B6-FBA9-4227-8F48-CA1BCFD68D45}"/>
    <dgm:cxn modelId="{35E1DC5D-451B-4339-A8EF-DA1E7755ECDD}" type="presOf" srcId="{BF4C4E88-5D9F-46F1-A09D-AE3B8019A5C8}" destId="{CEE86B77-B243-41C5-9FA0-F39B3E59171B}" srcOrd="0" destOrd="0" presId="urn:microsoft.com/office/officeart/2005/8/layout/pList1#2"/>
    <dgm:cxn modelId="{AB136D70-A24A-4757-B3DE-D31C190FAFC2}" type="presOf" srcId="{F3DE45D3-AE59-46D6-AAC7-C28EFE5076D1}" destId="{CB009537-3FB5-4E73-A9D1-D90A46BC6D4C}" srcOrd="0" destOrd="0" presId="urn:microsoft.com/office/officeart/2005/8/layout/pList1#2"/>
    <dgm:cxn modelId="{4858D31F-7BAB-46FE-9AE4-B630B4DC25A6}" type="presOf" srcId="{9B1EE055-77FB-4CCA-B183-852F697F3919}" destId="{D5840256-0CE3-431E-9B86-D054EDBC4B6E}" srcOrd="0" destOrd="0" presId="urn:microsoft.com/office/officeart/2005/8/layout/pList1#2"/>
    <dgm:cxn modelId="{4C744E86-9E69-48D4-A79A-5385C97F530A}" srcId="{FB7570CB-AA7D-4DE1-A870-EA98E929BEF7}" destId="{8B289906-5C6D-4EC7-8594-4BA095CDD44B}" srcOrd="10" destOrd="0" parTransId="{F3E1A68F-ABDF-455D-926E-6FC3280801B7}" sibTransId="{9B1EE055-77FB-4CCA-B183-852F697F3919}"/>
    <dgm:cxn modelId="{D815CBC0-355D-4488-837D-630360CC9491}" srcId="{FB7570CB-AA7D-4DE1-A870-EA98E929BEF7}" destId="{707E24E3-0B9F-41E6-96A0-B38CC14DB72B}" srcOrd="3" destOrd="0" parTransId="{813F6EB8-5F4F-4298-8023-602CE62BF11F}" sibTransId="{D2E7C621-C407-4CAD-B3B7-B993437009DF}"/>
    <dgm:cxn modelId="{90A6ECDB-6DD4-4BDF-8223-5AA6DA0C3D08}" type="presOf" srcId="{8B289906-5C6D-4EC7-8594-4BA095CDD44B}" destId="{2887C270-E3F8-4424-AFED-F7FE4420B783}" srcOrd="0" destOrd="0" presId="urn:microsoft.com/office/officeart/2005/8/layout/pList1#2"/>
    <dgm:cxn modelId="{501D90DE-CB35-4B7C-B23E-B728E263B23E}" type="presOf" srcId="{DFA8B0F3-5E1D-4024-A225-A68A1FAF37A9}" destId="{1DB459B7-2DF7-4428-A0A2-72403992C210}" srcOrd="0" destOrd="0" presId="urn:microsoft.com/office/officeart/2005/8/layout/pList1#2"/>
    <dgm:cxn modelId="{400BD3E3-AD8C-4C5B-8283-67D1DE19DA30}" srcId="{FB7570CB-AA7D-4DE1-A870-EA98E929BEF7}" destId="{4834C1BC-3449-4935-BE07-1C3062822ADE}" srcOrd="1" destOrd="0" parTransId="{845646AD-1A53-4513-91F3-DE8E9148313C}" sibTransId="{A343B637-EEDE-4D8A-94A5-6B0CC781EC76}"/>
    <dgm:cxn modelId="{1F263619-F6CA-4E67-A089-6EAE0B04890B}" srcId="{FB7570CB-AA7D-4DE1-A870-EA98E929BEF7}" destId="{1C24E90D-6823-43B7-86FF-53C8A8EF51D1}" srcOrd="8" destOrd="0" parTransId="{338DA901-6505-4BB1-A64C-7AB5655B98B9}" sibTransId="{47F3B402-F763-4ADF-AD2D-438DF8CDCE07}"/>
    <dgm:cxn modelId="{354841FD-605A-4427-9050-45A78BAAD067}" type="presOf" srcId="{D2E7C621-C407-4CAD-B3B7-B993437009DF}" destId="{FB983564-E2E4-494F-B93A-5CA955634068}" srcOrd="0" destOrd="0" presId="urn:microsoft.com/office/officeart/2005/8/layout/pList1#2"/>
    <dgm:cxn modelId="{DDAD922C-E37D-4181-BC4F-09BFC2D54994}" type="presOf" srcId="{E72A3662-2C75-4152-901A-99C04907BC46}" destId="{46A21219-899E-4624-8AE4-DE4ECEDB8AE2}" srcOrd="0" destOrd="0" presId="urn:microsoft.com/office/officeart/2005/8/layout/pList1#2"/>
    <dgm:cxn modelId="{EC16BAD1-2787-4E12-A169-19C6AE8C2DD2}" srcId="{FB7570CB-AA7D-4DE1-A870-EA98E929BEF7}" destId="{BF4C4E88-5D9F-46F1-A09D-AE3B8019A5C8}" srcOrd="7" destOrd="0" parTransId="{2A691EB3-ECB7-4D33-8BE4-37036627887F}" sibTransId="{38E6BD1E-B684-4C97-ACA1-7DE3818092B4}"/>
    <dgm:cxn modelId="{EDFF766E-D119-4A79-838D-AE4FCC13B7D3}" type="presOf" srcId="{A343B637-EEDE-4D8A-94A5-6B0CC781EC76}" destId="{D8C516A8-1E6C-4D8A-B1AC-A459D2018623}" srcOrd="0" destOrd="0" presId="urn:microsoft.com/office/officeart/2005/8/layout/pList1#2"/>
    <dgm:cxn modelId="{72F54839-05F0-471D-B758-450DF95E74F1}" type="presOf" srcId="{D198E65A-4BD3-4D51-9513-177E59F89996}" destId="{151246F4-C389-451E-BA75-0A6FF3CE2193}" srcOrd="0" destOrd="0" presId="urn:microsoft.com/office/officeart/2005/8/layout/pList1#2"/>
    <dgm:cxn modelId="{3CB5F34E-ABD0-4530-A1CF-4B3A1C2FE967}" srcId="{FB7570CB-AA7D-4DE1-A870-EA98E929BEF7}" destId="{D198E65A-4BD3-4D51-9513-177E59F89996}" srcOrd="11" destOrd="0" parTransId="{52270F07-1781-408E-B051-90E31EBD62BE}" sibTransId="{B103DD6D-EEDE-4D32-BCCE-9B78DD3758C1}"/>
    <dgm:cxn modelId="{70E0D1C1-516F-45D2-85C9-554BE150F945}" srcId="{FB7570CB-AA7D-4DE1-A870-EA98E929BEF7}" destId="{E72A3662-2C75-4152-901A-99C04907BC46}" srcOrd="2" destOrd="0" parTransId="{9DFC01A5-B7FA-4549-92D3-C887123CCD9B}" sibTransId="{BA0A25A2-B4AC-49A4-8138-E103873C806A}"/>
    <dgm:cxn modelId="{6BA959B6-E2C1-4D65-82B4-801B99301F69}" srcId="{FB7570CB-AA7D-4DE1-A870-EA98E929BEF7}" destId="{32F2D8E0-946F-4044-962A-F7ED314AB63B}" srcOrd="4" destOrd="0" parTransId="{DBF79CA0-B82F-484D-AA1F-F8A4692C6DE6}" sibTransId="{8CBB2146-56F5-4D2D-8028-2B95106ADCC1}"/>
    <dgm:cxn modelId="{F4B00934-0C7A-4DEE-83E5-4B8E8B2DCDCC}" type="presOf" srcId="{32F2D8E0-946F-4044-962A-F7ED314AB63B}" destId="{EDC1CF00-63CD-4F2C-9FB0-48F83BA51EC1}" srcOrd="0" destOrd="0" presId="urn:microsoft.com/office/officeart/2005/8/layout/pList1#2"/>
    <dgm:cxn modelId="{72F21794-E79B-4C5F-8E26-F06FB12ED0CB}" srcId="{FB7570CB-AA7D-4DE1-A870-EA98E929BEF7}" destId="{99BBF9D7-7E22-4EC3-B1D7-72791F91CB6C}" srcOrd="6" destOrd="0" parTransId="{B3F5340F-9E23-4349-8CA7-D3C76334EA83}" sibTransId="{99B1ECBA-0F26-458E-A466-93F93193699A}"/>
    <dgm:cxn modelId="{5D19DFD7-73C6-4665-A1EC-5E01F8462055}" type="presOf" srcId="{707E24E3-0B9F-41E6-96A0-B38CC14DB72B}" destId="{F103BCF1-FFD4-4FD5-85DC-FF88FC6A1CEB}" srcOrd="0" destOrd="0" presId="urn:microsoft.com/office/officeart/2005/8/layout/pList1#2"/>
    <dgm:cxn modelId="{BD23A2B1-F789-410B-A6C4-EED84F7A23E3}" type="presOf" srcId="{4834C1BC-3449-4935-BE07-1C3062822ADE}" destId="{1BE1181E-C30F-4D41-AFD0-7DED4C767FB5}" srcOrd="0" destOrd="0" presId="urn:microsoft.com/office/officeart/2005/8/layout/pList1#2"/>
    <dgm:cxn modelId="{456861D4-8E86-4AAE-AEB6-CA0B84662C88}" type="presOf" srcId="{9FBA81B6-FBA9-4227-8F48-CA1BCFD68D45}" destId="{F49A462C-BE91-47C3-8EA7-D5B3F033218D}" srcOrd="0" destOrd="0" presId="urn:microsoft.com/office/officeart/2005/8/layout/pList1#2"/>
    <dgm:cxn modelId="{35D63DF1-4E64-48D2-838C-94D8F4BC86E8}" type="presOf" srcId="{FB7570CB-AA7D-4DE1-A870-EA98E929BEF7}" destId="{B5260296-2BBF-42F2-A3A6-D1DB78BDA8C1}" srcOrd="0" destOrd="0" presId="urn:microsoft.com/office/officeart/2005/8/layout/pList1#2"/>
    <dgm:cxn modelId="{F74A58CA-B847-4AD5-BC9B-A8F1BDF7B739}" type="presParOf" srcId="{B5260296-2BBF-42F2-A3A6-D1DB78BDA8C1}" destId="{4EFF7473-E22C-41EB-83FA-ED6F13FDDC17}" srcOrd="0" destOrd="0" presId="urn:microsoft.com/office/officeart/2005/8/layout/pList1#2"/>
    <dgm:cxn modelId="{71182C0A-99C0-4581-ACAA-14B58275D9DC}" type="presParOf" srcId="{4EFF7473-E22C-41EB-83FA-ED6F13FDDC17}" destId="{C8120C7C-99E2-4BE4-88DC-820472F698F8}" srcOrd="0" destOrd="0" presId="urn:microsoft.com/office/officeart/2005/8/layout/pList1#2"/>
    <dgm:cxn modelId="{10284235-604A-42B3-AB51-05B3E0FCEB9A}" type="presParOf" srcId="{4EFF7473-E22C-41EB-83FA-ED6F13FDDC17}" destId="{1DB459B7-2DF7-4428-A0A2-72403992C210}" srcOrd="1" destOrd="0" presId="urn:microsoft.com/office/officeart/2005/8/layout/pList1#2"/>
    <dgm:cxn modelId="{81D9083A-6BC8-4CA2-8693-CF480BA47635}" type="presParOf" srcId="{B5260296-2BBF-42F2-A3A6-D1DB78BDA8C1}" destId="{F49A462C-BE91-47C3-8EA7-D5B3F033218D}" srcOrd="1" destOrd="0" presId="urn:microsoft.com/office/officeart/2005/8/layout/pList1#2"/>
    <dgm:cxn modelId="{AE05BD2E-C14E-41EC-A20A-69BAB86A1C10}" type="presParOf" srcId="{B5260296-2BBF-42F2-A3A6-D1DB78BDA8C1}" destId="{82CC4FB3-A687-4733-AABC-BA3F81FE08C9}" srcOrd="2" destOrd="0" presId="urn:microsoft.com/office/officeart/2005/8/layout/pList1#2"/>
    <dgm:cxn modelId="{F653B21E-91C1-4236-BF9F-D1F1949BB23B}" type="presParOf" srcId="{82CC4FB3-A687-4733-AABC-BA3F81FE08C9}" destId="{2EE758F3-77F4-4AAF-A3A6-9DF5C660D260}" srcOrd="0" destOrd="0" presId="urn:microsoft.com/office/officeart/2005/8/layout/pList1#2"/>
    <dgm:cxn modelId="{75EC9123-13F8-408A-ADE4-59ED1A1FE19F}" type="presParOf" srcId="{82CC4FB3-A687-4733-AABC-BA3F81FE08C9}" destId="{1BE1181E-C30F-4D41-AFD0-7DED4C767FB5}" srcOrd="1" destOrd="0" presId="urn:microsoft.com/office/officeart/2005/8/layout/pList1#2"/>
    <dgm:cxn modelId="{4138B4AA-0150-4FC6-8B80-5B86D080CF6A}" type="presParOf" srcId="{B5260296-2BBF-42F2-A3A6-D1DB78BDA8C1}" destId="{D8C516A8-1E6C-4D8A-B1AC-A459D2018623}" srcOrd="3" destOrd="0" presId="urn:microsoft.com/office/officeart/2005/8/layout/pList1#2"/>
    <dgm:cxn modelId="{C46DD70C-97F3-4197-A992-967CB6E09560}" type="presParOf" srcId="{B5260296-2BBF-42F2-A3A6-D1DB78BDA8C1}" destId="{98B48AA3-545C-4A49-B660-1EFC1C781D79}" srcOrd="4" destOrd="0" presId="urn:microsoft.com/office/officeart/2005/8/layout/pList1#2"/>
    <dgm:cxn modelId="{93CBEC5F-A44B-478D-9E3D-03B65A9EEDB9}" type="presParOf" srcId="{98B48AA3-545C-4A49-B660-1EFC1C781D79}" destId="{66AA693A-C4CE-4D06-A2FF-74A9CF0F6F33}" srcOrd="0" destOrd="0" presId="urn:microsoft.com/office/officeart/2005/8/layout/pList1#2"/>
    <dgm:cxn modelId="{BD7043F9-41E4-4D76-B40E-9D42B2274BA6}" type="presParOf" srcId="{98B48AA3-545C-4A49-B660-1EFC1C781D79}" destId="{46A21219-899E-4624-8AE4-DE4ECEDB8AE2}" srcOrd="1" destOrd="0" presId="urn:microsoft.com/office/officeart/2005/8/layout/pList1#2"/>
    <dgm:cxn modelId="{0D2690AB-CBA3-4D5A-9E5C-0446082B9FF2}" type="presParOf" srcId="{B5260296-2BBF-42F2-A3A6-D1DB78BDA8C1}" destId="{AA153746-0CA2-4E08-9C2E-A25267823D09}" srcOrd="5" destOrd="0" presId="urn:microsoft.com/office/officeart/2005/8/layout/pList1#2"/>
    <dgm:cxn modelId="{EE7BF2FD-2D2F-4318-9DEE-BC3662135D4F}" type="presParOf" srcId="{B5260296-2BBF-42F2-A3A6-D1DB78BDA8C1}" destId="{C2EC7C03-2CE4-44DB-80D1-036137E78947}" srcOrd="6" destOrd="0" presId="urn:microsoft.com/office/officeart/2005/8/layout/pList1#2"/>
    <dgm:cxn modelId="{04C73F07-08CD-4E1E-A328-7DC0E9B9FBD3}" type="presParOf" srcId="{C2EC7C03-2CE4-44DB-80D1-036137E78947}" destId="{BB52E210-9ABD-48EE-BCAE-467302C793B7}" srcOrd="0" destOrd="0" presId="urn:microsoft.com/office/officeart/2005/8/layout/pList1#2"/>
    <dgm:cxn modelId="{43CFF930-3CD9-4E7A-857C-AFC967A9E956}" type="presParOf" srcId="{C2EC7C03-2CE4-44DB-80D1-036137E78947}" destId="{F103BCF1-FFD4-4FD5-85DC-FF88FC6A1CEB}" srcOrd="1" destOrd="0" presId="urn:microsoft.com/office/officeart/2005/8/layout/pList1#2"/>
    <dgm:cxn modelId="{0A18CF5A-8DB0-431D-85F8-163B52A0EB90}" type="presParOf" srcId="{B5260296-2BBF-42F2-A3A6-D1DB78BDA8C1}" destId="{FB983564-E2E4-494F-B93A-5CA955634068}" srcOrd="7" destOrd="0" presId="urn:microsoft.com/office/officeart/2005/8/layout/pList1#2"/>
    <dgm:cxn modelId="{31361DD9-30DA-42BB-972B-269888AB2019}" type="presParOf" srcId="{B5260296-2BBF-42F2-A3A6-D1DB78BDA8C1}" destId="{DC962A45-1D51-4BCC-8472-CEDE17D252DD}" srcOrd="8" destOrd="0" presId="urn:microsoft.com/office/officeart/2005/8/layout/pList1#2"/>
    <dgm:cxn modelId="{003BCCC9-E6E3-43DE-8626-6E57691749D0}" type="presParOf" srcId="{DC962A45-1D51-4BCC-8472-CEDE17D252DD}" destId="{320110B4-9566-4672-8059-7044DBF2B1B7}" srcOrd="0" destOrd="0" presId="urn:microsoft.com/office/officeart/2005/8/layout/pList1#2"/>
    <dgm:cxn modelId="{435F115E-4D91-4A1B-9737-8547E3E0C698}" type="presParOf" srcId="{DC962A45-1D51-4BCC-8472-CEDE17D252DD}" destId="{EDC1CF00-63CD-4F2C-9FB0-48F83BA51EC1}" srcOrd="1" destOrd="0" presId="urn:microsoft.com/office/officeart/2005/8/layout/pList1#2"/>
    <dgm:cxn modelId="{7AE5EC95-5E80-47FB-ADDF-BFFB14779FDA}" type="presParOf" srcId="{B5260296-2BBF-42F2-A3A6-D1DB78BDA8C1}" destId="{F01F771F-FD42-4627-94F7-2892933BEAF3}" srcOrd="9" destOrd="0" presId="urn:microsoft.com/office/officeart/2005/8/layout/pList1#2"/>
    <dgm:cxn modelId="{55503230-FA07-472A-9CA4-92358D76C7C0}" type="presParOf" srcId="{B5260296-2BBF-42F2-A3A6-D1DB78BDA8C1}" destId="{318CAA21-F123-44C0-9891-B136DE4BA10C}" srcOrd="10" destOrd="0" presId="urn:microsoft.com/office/officeart/2005/8/layout/pList1#2"/>
    <dgm:cxn modelId="{22664593-A07E-4E20-9993-2F0D80714FEF}" type="presParOf" srcId="{318CAA21-F123-44C0-9891-B136DE4BA10C}" destId="{2CA407B6-B0BA-4366-9938-EB9CF4407804}" srcOrd="0" destOrd="0" presId="urn:microsoft.com/office/officeart/2005/8/layout/pList1#2"/>
    <dgm:cxn modelId="{D744DAA4-2F36-49A2-B1AB-A9B443642F43}" type="presParOf" srcId="{318CAA21-F123-44C0-9891-B136DE4BA10C}" destId="{0EBA3C78-C806-41D7-A535-01541DF82281}" srcOrd="1" destOrd="0" presId="urn:microsoft.com/office/officeart/2005/8/layout/pList1#2"/>
    <dgm:cxn modelId="{D68259B4-A391-4515-A95A-7FB0D39673D4}" type="presParOf" srcId="{B5260296-2BBF-42F2-A3A6-D1DB78BDA8C1}" destId="{76DA7333-8C50-4056-A1C5-E33CE447A8D9}" srcOrd="11" destOrd="0" presId="urn:microsoft.com/office/officeart/2005/8/layout/pList1#2"/>
    <dgm:cxn modelId="{675F8094-98F0-4183-B0B3-14706DEA3192}" type="presParOf" srcId="{B5260296-2BBF-42F2-A3A6-D1DB78BDA8C1}" destId="{BA798EF6-B45A-40DC-9374-25B5FC57043B}" srcOrd="12" destOrd="0" presId="urn:microsoft.com/office/officeart/2005/8/layout/pList1#2"/>
    <dgm:cxn modelId="{62D5D67A-4090-415C-AB2B-A77059DCE8EE}" type="presParOf" srcId="{BA798EF6-B45A-40DC-9374-25B5FC57043B}" destId="{2976FE89-286E-4643-B8FE-2FBCFE043856}" srcOrd="0" destOrd="0" presId="urn:microsoft.com/office/officeart/2005/8/layout/pList1#2"/>
    <dgm:cxn modelId="{A485A741-6F72-40C3-B649-410877FF78EF}" type="presParOf" srcId="{BA798EF6-B45A-40DC-9374-25B5FC57043B}" destId="{EA3CA750-9746-4E03-A406-CB57002BBCDC}" srcOrd="1" destOrd="0" presId="urn:microsoft.com/office/officeart/2005/8/layout/pList1#2"/>
    <dgm:cxn modelId="{41524F68-6672-455A-80AF-73E8BA7EB48E}" type="presParOf" srcId="{B5260296-2BBF-42F2-A3A6-D1DB78BDA8C1}" destId="{17810B2C-C422-480F-810A-8478A3CA4DC7}" srcOrd="13" destOrd="0" presId="urn:microsoft.com/office/officeart/2005/8/layout/pList1#2"/>
    <dgm:cxn modelId="{03551C77-5948-458C-A41B-A29B6BB0DF45}" type="presParOf" srcId="{B5260296-2BBF-42F2-A3A6-D1DB78BDA8C1}" destId="{E616B97E-0750-4586-AEE5-B6FEFBE00AA2}" srcOrd="14" destOrd="0" presId="urn:microsoft.com/office/officeart/2005/8/layout/pList1#2"/>
    <dgm:cxn modelId="{8D304D9B-7A22-4759-A94F-ACBE02CB92D0}" type="presParOf" srcId="{E616B97E-0750-4586-AEE5-B6FEFBE00AA2}" destId="{ADF2977F-A2B0-4C3D-AF2F-E33C229384F8}" srcOrd="0" destOrd="0" presId="urn:microsoft.com/office/officeart/2005/8/layout/pList1#2"/>
    <dgm:cxn modelId="{24F6981E-6E6D-4CFD-BD93-575A4267D4CA}" type="presParOf" srcId="{E616B97E-0750-4586-AEE5-B6FEFBE00AA2}" destId="{CEE86B77-B243-41C5-9FA0-F39B3E59171B}" srcOrd="1" destOrd="0" presId="urn:microsoft.com/office/officeart/2005/8/layout/pList1#2"/>
    <dgm:cxn modelId="{7D9899AB-3A7F-4343-A530-976DACCB0989}" type="presParOf" srcId="{B5260296-2BBF-42F2-A3A6-D1DB78BDA8C1}" destId="{57C1C803-C46F-4338-8A83-BEF4E4D870DA}" srcOrd="15" destOrd="0" presId="urn:microsoft.com/office/officeart/2005/8/layout/pList1#2"/>
    <dgm:cxn modelId="{5B3CFC3B-C836-49B0-972D-04C6B5A053FE}" type="presParOf" srcId="{B5260296-2BBF-42F2-A3A6-D1DB78BDA8C1}" destId="{041AD8B8-A472-4B64-9DA9-2DDD9F3652E8}" srcOrd="16" destOrd="0" presId="urn:microsoft.com/office/officeart/2005/8/layout/pList1#2"/>
    <dgm:cxn modelId="{8EF7836F-5387-4848-848F-BB2EC9B8053E}" type="presParOf" srcId="{041AD8B8-A472-4B64-9DA9-2DDD9F3652E8}" destId="{A34D304F-6115-413B-A224-293E8558C570}" srcOrd="0" destOrd="0" presId="urn:microsoft.com/office/officeart/2005/8/layout/pList1#2"/>
    <dgm:cxn modelId="{C43DE9FA-F2EB-4BB6-B473-AE6AF5D178F4}" type="presParOf" srcId="{041AD8B8-A472-4B64-9DA9-2DDD9F3652E8}" destId="{BA80E4CF-345E-40CA-A519-DAE7E573169F}" srcOrd="1" destOrd="0" presId="urn:microsoft.com/office/officeart/2005/8/layout/pList1#2"/>
    <dgm:cxn modelId="{270E2B5E-7E94-4C40-AA4C-776A92C9DCD2}" type="presParOf" srcId="{B5260296-2BBF-42F2-A3A6-D1DB78BDA8C1}" destId="{E8256F0E-B0EA-44BD-8D37-921DB20D12D5}" srcOrd="17" destOrd="0" presId="urn:microsoft.com/office/officeart/2005/8/layout/pList1#2"/>
    <dgm:cxn modelId="{E9472736-F9B8-44A4-B406-F34B62BDF229}" type="presParOf" srcId="{B5260296-2BBF-42F2-A3A6-D1DB78BDA8C1}" destId="{DDD6668F-3E85-4B1A-A1AA-8C246EA9CFC3}" srcOrd="18" destOrd="0" presId="urn:microsoft.com/office/officeart/2005/8/layout/pList1#2"/>
    <dgm:cxn modelId="{88DE11ED-BE0E-4C3D-BB0C-2B2B2B6238C4}" type="presParOf" srcId="{DDD6668F-3E85-4B1A-A1AA-8C246EA9CFC3}" destId="{69D8A49E-DC36-44BB-813C-CFA864B85A00}" srcOrd="0" destOrd="0" presId="urn:microsoft.com/office/officeart/2005/8/layout/pList1#2"/>
    <dgm:cxn modelId="{358B9F89-0809-4D96-9661-20B031502E42}" type="presParOf" srcId="{DDD6668F-3E85-4B1A-A1AA-8C246EA9CFC3}" destId="{CB009537-3FB5-4E73-A9D1-D90A46BC6D4C}" srcOrd="1" destOrd="0" presId="urn:microsoft.com/office/officeart/2005/8/layout/pList1#2"/>
    <dgm:cxn modelId="{53807CC0-7BB5-491B-AAD9-88407A8C5E0B}" type="presParOf" srcId="{B5260296-2BBF-42F2-A3A6-D1DB78BDA8C1}" destId="{8411BA13-81CA-416F-8F90-A4EF67DF1202}" srcOrd="19" destOrd="0" presId="urn:microsoft.com/office/officeart/2005/8/layout/pList1#2"/>
    <dgm:cxn modelId="{7A87D703-C3C2-49CD-8957-77FCD6D7FBE8}" type="presParOf" srcId="{B5260296-2BBF-42F2-A3A6-D1DB78BDA8C1}" destId="{43AE1234-A782-4F3A-BA29-A64F8027A008}" srcOrd="20" destOrd="0" presId="urn:microsoft.com/office/officeart/2005/8/layout/pList1#2"/>
    <dgm:cxn modelId="{602435F4-75FC-4C91-8635-4B85EBAAD665}" type="presParOf" srcId="{43AE1234-A782-4F3A-BA29-A64F8027A008}" destId="{64634C9D-A175-4D8F-AA64-B17FDEB2138B}" srcOrd="0" destOrd="0" presId="urn:microsoft.com/office/officeart/2005/8/layout/pList1#2"/>
    <dgm:cxn modelId="{88855F7A-3091-4FA4-BDAF-489BB9664281}" type="presParOf" srcId="{43AE1234-A782-4F3A-BA29-A64F8027A008}" destId="{2887C270-E3F8-4424-AFED-F7FE4420B783}" srcOrd="1" destOrd="0" presId="urn:microsoft.com/office/officeart/2005/8/layout/pList1#2"/>
    <dgm:cxn modelId="{0BE496DF-50D8-4BDE-BC79-09943C9AB945}" type="presParOf" srcId="{B5260296-2BBF-42F2-A3A6-D1DB78BDA8C1}" destId="{D5840256-0CE3-431E-9B86-D054EDBC4B6E}" srcOrd="21" destOrd="0" presId="urn:microsoft.com/office/officeart/2005/8/layout/pList1#2"/>
    <dgm:cxn modelId="{FF78C6B8-0610-4C5F-BD2D-6EC4620D16CC}" type="presParOf" srcId="{B5260296-2BBF-42F2-A3A6-D1DB78BDA8C1}" destId="{57B06AF6-815B-4E43-BD97-062EF9E67D03}" srcOrd="22" destOrd="0" presId="urn:microsoft.com/office/officeart/2005/8/layout/pList1#2"/>
    <dgm:cxn modelId="{00F17F95-8FF1-4F08-BD5A-736C3FAE0FCA}" type="presParOf" srcId="{57B06AF6-815B-4E43-BD97-062EF9E67D03}" destId="{5234F61C-8783-47A0-91EE-EEC8D3DDEEA9}" srcOrd="0" destOrd="0" presId="urn:microsoft.com/office/officeart/2005/8/layout/pList1#2"/>
    <dgm:cxn modelId="{2DDFC4EB-FA58-4977-9255-906FF650FBCD}" type="presParOf" srcId="{57B06AF6-815B-4E43-BD97-062EF9E67D03}" destId="{151246F4-C389-451E-BA75-0A6FF3CE2193}" srcOrd="1" destOrd="0" presId="urn:microsoft.com/office/officeart/2005/8/layout/pList1#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8120C7C-99E2-4BE4-88DC-820472F698F8}">
      <dsp:nvSpPr>
        <dsp:cNvPr id="0" name=""/>
        <dsp:cNvSpPr/>
      </dsp:nvSpPr>
      <dsp:spPr>
        <a:xfrm>
          <a:off x="736993" y="2694"/>
          <a:ext cx="1613985" cy="111203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DB459B7-2DF7-4428-A0A2-72403992C210}">
      <dsp:nvSpPr>
        <dsp:cNvPr id="0" name=""/>
        <dsp:cNvSpPr/>
      </dsp:nvSpPr>
      <dsp:spPr>
        <a:xfrm>
          <a:off x="736993" y="1114730"/>
          <a:ext cx="1613985" cy="59878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08" tIns="64008" rIns="64008" bIns="0" numCol="1" spcCol="1270" anchor="t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b="1" kern="1200" dirty="0" smtClean="0">
              <a:solidFill>
                <a:schemeClr val="tx1">
                  <a:lumMod val="25000"/>
                </a:schemeClr>
              </a:solidFill>
              <a:latin typeface="Calibri" pitchFamily="34" charset="0"/>
            </a:rPr>
            <a:t>1949</a:t>
          </a:r>
          <a:r>
            <a:rPr lang="ru-RU" sz="900" kern="1200" dirty="0" smtClean="0">
              <a:solidFill>
                <a:schemeClr val="tx1">
                  <a:lumMod val="25000"/>
                </a:schemeClr>
              </a:solidFill>
              <a:latin typeface="Calibri" pitchFamily="34" charset="0"/>
            </a:rPr>
            <a:t> – год основания</a:t>
          </a:r>
          <a:endParaRPr lang="ru-RU" sz="900" kern="1200" dirty="0">
            <a:solidFill>
              <a:schemeClr val="tx1">
                <a:lumMod val="25000"/>
              </a:schemeClr>
            </a:solidFill>
            <a:latin typeface="Calibri" pitchFamily="34" charset="0"/>
          </a:endParaRPr>
        </a:p>
      </dsp:txBody>
      <dsp:txXfrm>
        <a:off x="736993" y="1114730"/>
        <a:ext cx="1613985" cy="598788"/>
      </dsp:txXfrm>
    </dsp:sp>
    <dsp:sp modelId="{2EE758F3-77F4-4AAF-A3A6-9DF5C660D260}">
      <dsp:nvSpPr>
        <dsp:cNvPr id="0" name=""/>
        <dsp:cNvSpPr/>
      </dsp:nvSpPr>
      <dsp:spPr>
        <a:xfrm>
          <a:off x="2512446" y="2694"/>
          <a:ext cx="1613985" cy="1112036"/>
        </a:xfrm>
        <a:prstGeom prst="roundRect">
          <a:avLst/>
        </a:prstGeom>
        <a:blipFill dpi="0" rotWithShape="1">
          <a:blip xmlns:r="http://schemas.openxmlformats.org/officeDocument/2006/relationships" r:embed="rId1" cstate="print">
            <a:extLst/>
          </a:blip>
          <a:srcRect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BE1181E-C30F-4D41-AFD0-7DED4C767FB5}">
      <dsp:nvSpPr>
        <dsp:cNvPr id="0" name=""/>
        <dsp:cNvSpPr/>
      </dsp:nvSpPr>
      <dsp:spPr>
        <a:xfrm>
          <a:off x="2512446" y="1114730"/>
          <a:ext cx="1613985" cy="59878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08" tIns="64008" rIns="64008" bIns="0" numCol="1" spcCol="1270" anchor="t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 smtClean="0">
              <a:solidFill>
                <a:schemeClr val="tx1">
                  <a:lumMod val="25000"/>
                </a:schemeClr>
              </a:solidFill>
              <a:latin typeface="Calibri" pitchFamily="34" charset="0"/>
            </a:rPr>
            <a:t>7 регионов России</a:t>
          </a:r>
          <a:endParaRPr lang="ru-RU" sz="900" kern="1200" dirty="0">
            <a:solidFill>
              <a:schemeClr val="tx1">
                <a:lumMod val="25000"/>
              </a:schemeClr>
            </a:solidFill>
            <a:latin typeface="Calibri" pitchFamily="34" charset="0"/>
          </a:endParaRPr>
        </a:p>
      </dsp:txBody>
      <dsp:txXfrm>
        <a:off x="2512446" y="1114730"/>
        <a:ext cx="1613985" cy="598788"/>
      </dsp:txXfrm>
    </dsp:sp>
    <dsp:sp modelId="{66AA693A-C4CE-4D06-A2FF-74A9CF0F6F33}">
      <dsp:nvSpPr>
        <dsp:cNvPr id="0" name=""/>
        <dsp:cNvSpPr/>
      </dsp:nvSpPr>
      <dsp:spPr>
        <a:xfrm>
          <a:off x="4287898" y="2694"/>
          <a:ext cx="1613985" cy="1112036"/>
        </a:xfrm>
        <a:prstGeom prst="roundRect">
          <a:avLst/>
        </a:prstGeom>
        <a:blipFill rotWithShape="0">
          <a:blip xmlns:r="http://schemas.openxmlformats.org/officeDocument/2006/relationships" r:embed="rId2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6A21219-899E-4624-8AE4-DE4ECEDB8AE2}">
      <dsp:nvSpPr>
        <dsp:cNvPr id="0" name=""/>
        <dsp:cNvSpPr/>
      </dsp:nvSpPr>
      <dsp:spPr>
        <a:xfrm>
          <a:off x="4287898" y="1114730"/>
          <a:ext cx="1613985" cy="59878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08" tIns="64008" rIns="64008" bIns="0" numCol="1" spcCol="1270" anchor="t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b="1" kern="1200" dirty="0" smtClean="0">
              <a:solidFill>
                <a:schemeClr val="tx1">
                  <a:lumMod val="25000"/>
                </a:schemeClr>
              </a:solidFill>
              <a:latin typeface="Calibri" pitchFamily="34" charset="0"/>
            </a:rPr>
            <a:t>5,1</a:t>
          </a:r>
          <a:r>
            <a:rPr lang="en-US" sz="900" b="1" kern="1200" dirty="0" smtClean="0">
              <a:solidFill>
                <a:schemeClr val="tx1">
                  <a:lumMod val="25000"/>
                </a:schemeClr>
              </a:solidFill>
              <a:latin typeface="Calibri" pitchFamily="34" charset="0"/>
            </a:rPr>
            <a:t> </a:t>
          </a:r>
          <a:r>
            <a:rPr lang="ru-RU" sz="900" b="1" kern="1200" dirty="0" smtClean="0">
              <a:solidFill>
                <a:schemeClr val="tx1">
                  <a:lumMod val="25000"/>
                </a:schemeClr>
              </a:solidFill>
              <a:latin typeface="Calibri" pitchFamily="34" charset="0"/>
            </a:rPr>
            <a:t> млн </a:t>
          </a:r>
          <a:r>
            <a:rPr lang="ru-RU" sz="900" kern="1200" dirty="0" smtClean="0">
              <a:solidFill>
                <a:schemeClr val="tx1">
                  <a:lumMod val="25000"/>
                </a:schemeClr>
              </a:solidFill>
              <a:latin typeface="Calibri" pitchFamily="34" charset="0"/>
            </a:rPr>
            <a:t>обслуживаемого населения</a:t>
          </a:r>
          <a:endParaRPr lang="ru-RU" sz="900" kern="1200" dirty="0">
            <a:solidFill>
              <a:schemeClr val="tx1">
                <a:lumMod val="25000"/>
              </a:schemeClr>
            </a:solidFill>
            <a:latin typeface="Calibri" pitchFamily="34" charset="0"/>
          </a:endParaRPr>
        </a:p>
      </dsp:txBody>
      <dsp:txXfrm>
        <a:off x="4287898" y="1114730"/>
        <a:ext cx="1613985" cy="598788"/>
      </dsp:txXfrm>
    </dsp:sp>
    <dsp:sp modelId="{BB52E210-9ABD-48EE-BCAE-467302C793B7}">
      <dsp:nvSpPr>
        <dsp:cNvPr id="0" name=""/>
        <dsp:cNvSpPr/>
      </dsp:nvSpPr>
      <dsp:spPr>
        <a:xfrm>
          <a:off x="6063350" y="2694"/>
          <a:ext cx="1613985" cy="1112036"/>
        </a:xfrm>
        <a:prstGeom prst="round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000" r="-2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103BCF1-FFD4-4FD5-85DC-FF88FC6A1CEB}">
      <dsp:nvSpPr>
        <dsp:cNvPr id="0" name=""/>
        <dsp:cNvSpPr/>
      </dsp:nvSpPr>
      <dsp:spPr>
        <a:xfrm>
          <a:off x="6063350" y="1114730"/>
          <a:ext cx="1613985" cy="59878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08" tIns="64008" rIns="64008" bIns="0" numCol="1" spcCol="1270" anchor="t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b="0" kern="1200" dirty="0" smtClean="0">
              <a:solidFill>
                <a:schemeClr val="tx1">
                  <a:lumMod val="25000"/>
                </a:schemeClr>
              </a:solidFill>
              <a:latin typeface="Calibri" pitchFamily="34" charset="0"/>
            </a:rPr>
            <a:t>общая протяженность сетей водоснабжения и водоотведения - </a:t>
          </a:r>
          <a:r>
            <a:rPr lang="en-US" sz="900" b="1" kern="1200" dirty="0" smtClean="0">
              <a:solidFill>
                <a:schemeClr val="tx1">
                  <a:lumMod val="25000"/>
                </a:schemeClr>
              </a:solidFill>
              <a:latin typeface="Calibri" pitchFamily="34" charset="0"/>
            </a:rPr>
            <a:t>1</a:t>
          </a:r>
          <a:r>
            <a:rPr lang="ru-RU" sz="900" b="1" kern="1200" dirty="0" smtClean="0">
              <a:solidFill>
                <a:schemeClr val="tx1">
                  <a:lumMod val="25000"/>
                </a:schemeClr>
              </a:solidFill>
              <a:latin typeface="Calibri" pitchFamily="34" charset="0"/>
            </a:rPr>
            <a:t>4,7 тыс. км. </a:t>
          </a:r>
          <a:endParaRPr lang="ru-RU" sz="900" kern="1200" dirty="0">
            <a:solidFill>
              <a:schemeClr val="tx1">
                <a:lumMod val="25000"/>
              </a:schemeClr>
            </a:solidFill>
            <a:latin typeface="Calibri" pitchFamily="34" charset="0"/>
          </a:endParaRPr>
        </a:p>
      </dsp:txBody>
      <dsp:txXfrm>
        <a:off x="6063350" y="1114730"/>
        <a:ext cx="1613985" cy="598788"/>
      </dsp:txXfrm>
    </dsp:sp>
    <dsp:sp modelId="{320110B4-9566-4672-8059-7044DBF2B1B7}">
      <dsp:nvSpPr>
        <dsp:cNvPr id="0" name=""/>
        <dsp:cNvSpPr/>
      </dsp:nvSpPr>
      <dsp:spPr>
        <a:xfrm>
          <a:off x="706408" y="1874918"/>
          <a:ext cx="1613985" cy="1112036"/>
        </a:xfrm>
        <a:prstGeom prst="roundRect">
          <a:avLst/>
        </a:prstGeom>
        <a:blipFill rotWithShape="0">
          <a:blip xmlns:r="http://schemas.openxmlformats.org/officeDocument/2006/relationships" r:embed="rId4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DC1CF00-63CD-4F2C-9FB0-48F83BA51EC1}">
      <dsp:nvSpPr>
        <dsp:cNvPr id="0" name=""/>
        <dsp:cNvSpPr/>
      </dsp:nvSpPr>
      <dsp:spPr>
        <a:xfrm>
          <a:off x="736993" y="2986954"/>
          <a:ext cx="1613985" cy="59878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08" tIns="64008" rIns="64008" bIns="0" numCol="1" spcCol="1270" anchor="t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b="1" kern="1200" dirty="0" smtClean="0">
              <a:solidFill>
                <a:schemeClr val="tx1">
                  <a:lumMod val="25000"/>
                </a:schemeClr>
              </a:solidFill>
              <a:latin typeface="Calibri" pitchFamily="34" charset="0"/>
            </a:rPr>
            <a:t>562 млн. м3 </a:t>
          </a:r>
          <a:r>
            <a:rPr lang="ru-RU" sz="900" kern="1200" dirty="0" smtClean="0">
              <a:solidFill>
                <a:schemeClr val="tx1">
                  <a:lumMod val="25000"/>
                </a:schemeClr>
              </a:solidFill>
              <a:latin typeface="Calibri" pitchFamily="34" charset="0"/>
            </a:rPr>
            <a:t>поданной воды ежегодно</a:t>
          </a:r>
          <a:endParaRPr lang="ru-RU" sz="900" kern="1200" dirty="0">
            <a:solidFill>
              <a:schemeClr val="tx1">
                <a:lumMod val="25000"/>
              </a:schemeClr>
            </a:solidFill>
            <a:latin typeface="Calibri" pitchFamily="34" charset="0"/>
          </a:endParaRPr>
        </a:p>
      </dsp:txBody>
      <dsp:txXfrm>
        <a:off x="736993" y="2986954"/>
        <a:ext cx="1613985" cy="598788"/>
      </dsp:txXfrm>
    </dsp:sp>
    <dsp:sp modelId="{2CA407B6-B0BA-4366-9938-EB9CF4407804}">
      <dsp:nvSpPr>
        <dsp:cNvPr id="0" name=""/>
        <dsp:cNvSpPr/>
      </dsp:nvSpPr>
      <dsp:spPr>
        <a:xfrm>
          <a:off x="2547324" y="1874918"/>
          <a:ext cx="1613985" cy="1112036"/>
        </a:xfrm>
        <a:prstGeom prst="roundRect">
          <a:avLst/>
        </a:prstGeom>
        <a:blipFill dpi="0" rotWithShape="1"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23000" b="-13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EBA3C78-C806-41D7-A535-01541DF82281}">
      <dsp:nvSpPr>
        <dsp:cNvPr id="0" name=""/>
        <dsp:cNvSpPr/>
      </dsp:nvSpPr>
      <dsp:spPr>
        <a:xfrm>
          <a:off x="2512446" y="2986954"/>
          <a:ext cx="1613985" cy="59878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08" tIns="64008" rIns="64008" bIns="0" numCol="1" spcCol="1270" anchor="t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b="1" kern="1200" dirty="0" smtClean="0">
              <a:solidFill>
                <a:schemeClr val="tx1">
                  <a:lumMod val="25000"/>
                </a:schemeClr>
              </a:solidFill>
              <a:latin typeface="Calibri" pitchFamily="34" charset="0"/>
            </a:rPr>
            <a:t>23% </a:t>
          </a:r>
          <a:r>
            <a:rPr lang="ru-RU" sz="900" kern="1200" dirty="0" smtClean="0">
              <a:solidFill>
                <a:schemeClr val="tx1">
                  <a:lumMod val="25000"/>
                </a:schemeClr>
              </a:solidFill>
              <a:latin typeface="Calibri" pitchFamily="34" charset="0"/>
            </a:rPr>
            <a:t>- доля на рынке частных водоканалов</a:t>
          </a:r>
          <a:endParaRPr lang="ru-RU" sz="900" kern="1200" dirty="0">
            <a:solidFill>
              <a:schemeClr val="tx1">
                <a:lumMod val="25000"/>
              </a:schemeClr>
            </a:solidFill>
            <a:latin typeface="Calibri" pitchFamily="34" charset="0"/>
          </a:endParaRPr>
        </a:p>
      </dsp:txBody>
      <dsp:txXfrm>
        <a:off x="2512446" y="2986954"/>
        <a:ext cx="1613985" cy="598788"/>
      </dsp:txXfrm>
    </dsp:sp>
    <dsp:sp modelId="{2976FE89-286E-4643-B8FE-2FBCFE043856}">
      <dsp:nvSpPr>
        <dsp:cNvPr id="0" name=""/>
        <dsp:cNvSpPr/>
      </dsp:nvSpPr>
      <dsp:spPr>
        <a:xfrm>
          <a:off x="4287898" y="1874918"/>
          <a:ext cx="1613985" cy="1112036"/>
        </a:xfrm>
        <a:prstGeom prst="roundRect">
          <a:avLst/>
        </a:prstGeom>
        <a:blipFill rotWithShape="0">
          <a:blip xmlns:r="http://schemas.openxmlformats.org/officeDocument/2006/relationships" r:embed="rId6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A3CA750-9746-4E03-A406-CB57002BBCDC}">
      <dsp:nvSpPr>
        <dsp:cNvPr id="0" name=""/>
        <dsp:cNvSpPr/>
      </dsp:nvSpPr>
      <dsp:spPr>
        <a:xfrm>
          <a:off x="4287898" y="2986954"/>
          <a:ext cx="1613985" cy="59878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08" tIns="64008" rIns="64008" bIns="0" numCol="1" spcCol="1270" anchor="t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b="1" kern="1200" dirty="0" smtClean="0">
              <a:solidFill>
                <a:schemeClr val="tx1">
                  <a:lumMod val="25000"/>
                </a:schemeClr>
              </a:solidFill>
              <a:latin typeface="Calibri" pitchFamily="34" charset="0"/>
            </a:rPr>
            <a:t>11</a:t>
          </a:r>
          <a:r>
            <a:rPr lang="ru-RU" sz="900" b="1" kern="1200" dirty="0" smtClean="0">
              <a:solidFill>
                <a:schemeClr val="tx1">
                  <a:lumMod val="25000"/>
                </a:schemeClr>
              </a:solidFill>
              <a:latin typeface="Calibri" pitchFamily="34" charset="0"/>
            </a:rPr>
            <a:t>,0 тыс. </a:t>
          </a:r>
          <a:r>
            <a:rPr lang="ru-RU" sz="900" kern="1200" dirty="0" smtClean="0">
              <a:solidFill>
                <a:schemeClr val="tx1">
                  <a:lumMod val="25000"/>
                </a:schemeClr>
              </a:solidFill>
              <a:latin typeface="Calibri" pitchFamily="34" charset="0"/>
            </a:rPr>
            <a:t>сотрудников</a:t>
          </a:r>
          <a:endParaRPr lang="ru-RU" sz="900" kern="1200" dirty="0">
            <a:solidFill>
              <a:schemeClr val="tx1">
                <a:lumMod val="25000"/>
              </a:schemeClr>
            </a:solidFill>
            <a:latin typeface="Calibri" pitchFamily="34" charset="0"/>
          </a:endParaRPr>
        </a:p>
      </dsp:txBody>
      <dsp:txXfrm>
        <a:off x="4287898" y="2986954"/>
        <a:ext cx="1613985" cy="598788"/>
      </dsp:txXfrm>
    </dsp:sp>
    <dsp:sp modelId="{ADF2977F-A2B0-4C3D-AF2F-E33C229384F8}">
      <dsp:nvSpPr>
        <dsp:cNvPr id="0" name=""/>
        <dsp:cNvSpPr/>
      </dsp:nvSpPr>
      <dsp:spPr>
        <a:xfrm>
          <a:off x="6063350" y="1874918"/>
          <a:ext cx="1613985" cy="1112036"/>
        </a:xfrm>
        <a:prstGeom prst="roundRect">
          <a:avLst/>
        </a:prstGeom>
        <a:blipFill rotWithShape="0">
          <a:blip xmlns:r="http://schemas.openxmlformats.org/officeDocument/2006/relationships" r:embed="rId7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EE86B77-B243-41C5-9FA0-F39B3E59171B}">
      <dsp:nvSpPr>
        <dsp:cNvPr id="0" name=""/>
        <dsp:cNvSpPr/>
      </dsp:nvSpPr>
      <dsp:spPr>
        <a:xfrm>
          <a:off x="6063350" y="2986954"/>
          <a:ext cx="1613985" cy="59878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08" tIns="64008" rIns="64008" bIns="0" numCol="1" spcCol="1270" anchor="t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b="1" kern="1200" dirty="0" smtClean="0">
              <a:solidFill>
                <a:schemeClr val="tx1">
                  <a:lumMod val="25000"/>
                </a:schemeClr>
              </a:solidFill>
              <a:latin typeface="Calibri" pitchFamily="34" charset="0"/>
            </a:rPr>
            <a:t>19 млрд. рублей </a:t>
          </a:r>
          <a:r>
            <a:rPr lang="ru-RU" sz="900" kern="1200" dirty="0" smtClean="0">
              <a:solidFill>
                <a:schemeClr val="tx1">
                  <a:lumMod val="25000"/>
                </a:schemeClr>
              </a:solidFill>
              <a:latin typeface="Calibri" pitchFamily="34" charset="0"/>
            </a:rPr>
            <a:t>инвестиций </a:t>
          </a:r>
          <a:endParaRPr lang="ru-RU" sz="900" kern="1200" dirty="0">
            <a:solidFill>
              <a:schemeClr val="tx1">
                <a:lumMod val="25000"/>
              </a:schemeClr>
            </a:solidFill>
            <a:latin typeface="Calibri" pitchFamily="34" charset="0"/>
          </a:endParaRPr>
        </a:p>
      </dsp:txBody>
      <dsp:txXfrm>
        <a:off x="6063350" y="2986954"/>
        <a:ext cx="1613985" cy="598788"/>
      </dsp:txXfrm>
    </dsp:sp>
    <dsp:sp modelId="{A34D304F-6115-413B-A224-293E8558C570}">
      <dsp:nvSpPr>
        <dsp:cNvPr id="0" name=""/>
        <dsp:cNvSpPr/>
      </dsp:nvSpPr>
      <dsp:spPr>
        <a:xfrm>
          <a:off x="736993" y="3747141"/>
          <a:ext cx="1613985" cy="1112036"/>
        </a:xfrm>
        <a:prstGeom prst="roundRect">
          <a:avLst/>
        </a:prstGeom>
        <a:blipFill>
          <a:blip xmlns:r="http://schemas.openxmlformats.org/officeDocument/2006/relationships"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4000" b="-4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A80E4CF-345E-40CA-A519-DAE7E573169F}">
      <dsp:nvSpPr>
        <dsp:cNvPr id="0" name=""/>
        <dsp:cNvSpPr/>
      </dsp:nvSpPr>
      <dsp:spPr>
        <a:xfrm>
          <a:off x="736993" y="4859177"/>
          <a:ext cx="1613985" cy="59878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08" tIns="64008" rIns="64008" bIns="0" numCol="1" spcCol="1270" anchor="t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b="1" kern="1200" dirty="0" smtClean="0">
              <a:solidFill>
                <a:schemeClr val="tx1">
                  <a:lumMod val="25000"/>
                </a:schemeClr>
              </a:solidFill>
              <a:latin typeface="Calibri" pitchFamily="34" charset="0"/>
            </a:rPr>
            <a:t>97% </a:t>
          </a:r>
          <a:r>
            <a:rPr lang="ru-RU" sz="900" kern="1200" dirty="0" smtClean="0">
              <a:solidFill>
                <a:schemeClr val="tx1">
                  <a:lumMod val="25000"/>
                </a:schemeClr>
              </a:solidFill>
              <a:latin typeface="Calibri" pitchFamily="34" charset="0"/>
            </a:rPr>
            <a:t>- уровень собираемости платежей</a:t>
          </a:r>
          <a:endParaRPr lang="ru-RU" sz="900" kern="1200" dirty="0">
            <a:solidFill>
              <a:schemeClr val="tx1">
                <a:lumMod val="25000"/>
              </a:schemeClr>
            </a:solidFill>
            <a:latin typeface="Calibri" pitchFamily="34" charset="0"/>
          </a:endParaRPr>
        </a:p>
      </dsp:txBody>
      <dsp:txXfrm>
        <a:off x="736993" y="4859177"/>
        <a:ext cx="1613985" cy="598788"/>
      </dsp:txXfrm>
    </dsp:sp>
    <dsp:sp modelId="{69D8A49E-DC36-44BB-813C-CFA864B85A00}">
      <dsp:nvSpPr>
        <dsp:cNvPr id="0" name=""/>
        <dsp:cNvSpPr/>
      </dsp:nvSpPr>
      <dsp:spPr>
        <a:xfrm>
          <a:off x="2512446" y="3747141"/>
          <a:ext cx="1613985" cy="1112036"/>
        </a:xfrm>
        <a:prstGeom prst="roundRect">
          <a:avLst/>
        </a:prstGeom>
        <a:blipFill rotWithShape="0">
          <a:blip xmlns:r="http://schemas.openxmlformats.org/officeDocument/2006/relationships" r:embed="rId9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B009537-3FB5-4E73-A9D1-D90A46BC6D4C}">
      <dsp:nvSpPr>
        <dsp:cNvPr id="0" name=""/>
        <dsp:cNvSpPr/>
      </dsp:nvSpPr>
      <dsp:spPr>
        <a:xfrm>
          <a:off x="2512446" y="4859177"/>
          <a:ext cx="1613985" cy="59878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08" tIns="64008" rIns="64008" bIns="0" numCol="1" spcCol="1270" anchor="t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b="0" kern="1200" dirty="0" smtClean="0">
              <a:solidFill>
                <a:schemeClr val="tx1"/>
              </a:solidFill>
              <a:latin typeface="Calibri" pitchFamily="34" charset="0"/>
            </a:rPr>
            <a:t>Кредитные линии ЕБРР на сумму </a:t>
          </a:r>
        </a:p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900" b="1" kern="1200" dirty="0" smtClean="0">
              <a:solidFill>
                <a:schemeClr val="tx1"/>
              </a:solidFill>
              <a:latin typeface="Calibri" pitchFamily="34" charset="0"/>
            </a:rPr>
            <a:t>3</a:t>
          </a:r>
          <a:r>
            <a:rPr lang="ru-RU" sz="900" b="1" kern="1200" dirty="0" smtClean="0">
              <a:solidFill>
                <a:schemeClr val="tx1"/>
              </a:solidFill>
              <a:latin typeface="Calibri" pitchFamily="34" charset="0"/>
            </a:rPr>
            <a:t> млрд. рублей</a:t>
          </a:r>
          <a:endParaRPr lang="ru-RU" sz="900" b="1" kern="1200" dirty="0">
            <a:solidFill>
              <a:schemeClr val="tx1"/>
            </a:solidFill>
            <a:latin typeface="Calibri" pitchFamily="34" charset="0"/>
          </a:endParaRPr>
        </a:p>
      </dsp:txBody>
      <dsp:txXfrm>
        <a:off x="2512446" y="4859177"/>
        <a:ext cx="1613985" cy="598788"/>
      </dsp:txXfrm>
    </dsp:sp>
    <dsp:sp modelId="{64634C9D-A175-4D8F-AA64-B17FDEB2138B}">
      <dsp:nvSpPr>
        <dsp:cNvPr id="0" name=""/>
        <dsp:cNvSpPr/>
      </dsp:nvSpPr>
      <dsp:spPr>
        <a:xfrm>
          <a:off x="4287898" y="3747141"/>
          <a:ext cx="1613985" cy="1112036"/>
        </a:xfrm>
        <a:prstGeom prst="roundRect">
          <a:avLst/>
        </a:prstGeom>
        <a:blipFill rotWithShape="0">
          <a:blip xmlns:r="http://schemas.openxmlformats.org/officeDocument/2006/relationships" r:embed="rId10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887C270-E3F8-4424-AFED-F7FE4420B783}">
      <dsp:nvSpPr>
        <dsp:cNvPr id="0" name=""/>
        <dsp:cNvSpPr/>
      </dsp:nvSpPr>
      <dsp:spPr>
        <a:xfrm>
          <a:off x="4287898" y="4859177"/>
          <a:ext cx="1613985" cy="59878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08" tIns="64008" rIns="64008" bIns="0" numCol="1" spcCol="1270" anchor="t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b="0" kern="1200" dirty="0" smtClean="0">
              <a:solidFill>
                <a:schemeClr val="tx1"/>
              </a:solidFill>
              <a:latin typeface="Calibri" pitchFamily="34" charset="0"/>
            </a:rPr>
            <a:t>Облигационный </a:t>
          </a:r>
          <a:r>
            <a:rPr lang="ru-RU" sz="900" b="0" kern="1200" dirty="0" err="1" smtClean="0">
              <a:solidFill>
                <a:schemeClr val="tx1"/>
              </a:solidFill>
              <a:latin typeface="Calibri" pitchFamily="34" charset="0"/>
            </a:rPr>
            <a:t>займ</a:t>
          </a:r>
          <a:r>
            <a:rPr lang="ru-RU" sz="900" b="0" kern="1200" dirty="0" smtClean="0">
              <a:solidFill>
                <a:schemeClr val="tx1"/>
              </a:solidFill>
              <a:latin typeface="Calibri" pitchFamily="34" charset="0"/>
            </a:rPr>
            <a:t> на сумму </a:t>
          </a:r>
        </a:p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b="1" kern="1200" dirty="0" smtClean="0">
              <a:solidFill>
                <a:schemeClr val="tx1"/>
              </a:solidFill>
              <a:latin typeface="Calibri" pitchFamily="34" charset="0"/>
            </a:rPr>
            <a:t>3 млрд. рублей</a:t>
          </a:r>
          <a:endParaRPr lang="ru-RU" sz="900" b="0" kern="1200" dirty="0">
            <a:solidFill>
              <a:schemeClr val="tx1"/>
            </a:solidFill>
            <a:latin typeface="Calibri" pitchFamily="34" charset="0"/>
          </a:endParaRPr>
        </a:p>
      </dsp:txBody>
      <dsp:txXfrm>
        <a:off x="4287898" y="4859177"/>
        <a:ext cx="1613985" cy="598788"/>
      </dsp:txXfrm>
    </dsp:sp>
    <dsp:sp modelId="{5234F61C-8783-47A0-91EE-EEC8D3DDEEA9}">
      <dsp:nvSpPr>
        <dsp:cNvPr id="0" name=""/>
        <dsp:cNvSpPr/>
      </dsp:nvSpPr>
      <dsp:spPr>
        <a:xfrm>
          <a:off x="6063350" y="3747141"/>
          <a:ext cx="1613985" cy="1112036"/>
        </a:xfrm>
        <a:prstGeom prst="roundRect">
          <a:avLst/>
        </a:prstGeom>
        <a:blipFill rotWithShape="0">
          <a:blip xmlns:r="http://schemas.openxmlformats.org/officeDocument/2006/relationships" r:embed="rId11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51246F4-C389-451E-BA75-0A6FF3CE2193}">
      <dsp:nvSpPr>
        <dsp:cNvPr id="0" name=""/>
        <dsp:cNvSpPr/>
      </dsp:nvSpPr>
      <dsp:spPr>
        <a:xfrm>
          <a:off x="6063350" y="4859177"/>
          <a:ext cx="1613985" cy="59878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08" tIns="64008" rIns="64008" bIns="0" numCol="1" spcCol="1270" anchor="t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 smtClean="0">
              <a:solidFill>
                <a:schemeClr val="tx1">
                  <a:lumMod val="25000"/>
                </a:schemeClr>
              </a:solidFill>
              <a:latin typeface="Calibri" pitchFamily="34" charset="0"/>
            </a:rPr>
            <a:t>Долгосрочный рейтинг </a:t>
          </a:r>
          <a:r>
            <a:rPr lang="ru-RU" sz="900" b="1" kern="1200" dirty="0" smtClean="0">
              <a:solidFill>
                <a:schemeClr val="tx1">
                  <a:lumMod val="25000"/>
                </a:schemeClr>
              </a:solidFill>
              <a:latin typeface="Calibri" pitchFamily="34" charset="0"/>
            </a:rPr>
            <a:t>«ВВ-» </a:t>
          </a:r>
          <a:r>
            <a:rPr lang="ru-RU" sz="900" kern="1200" dirty="0" smtClean="0">
              <a:solidFill>
                <a:schemeClr val="tx1">
                  <a:lumMod val="25000"/>
                </a:schemeClr>
              </a:solidFill>
              <a:latin typeface="Calibri" pitchFamily="34" charset="0"/>
            </a:rPr>
            <a:t>от </a:t>
          </a:r>
          <a:r>
            <a:rPr lang="ru-RU" sz="900" kern="1200" dirty="0" err="1" smtClean="0">
              <a:solidFill>
                <a:schemeClr val="tx1">
                  <a:lumMod val="25000"/>
                </a:schemeClr>
              </a:solidFill>
              <a:latin typeface="Calibri" pitchFamily="34" charset="0"/>
            </a:rPr>
            <a:t>Fitch</a:t>
          </a:r>
          <a:r>
            <a:rPr lang="ru-RU" sz="900" kern="1200" dirty="0" smtClean="0">
              <a:solidFill>
                <a:schemeClr val="tx1">
                  <a:lumMod val="25000"/>
                </a:schemeClr>
              </a:solidFill>
              <a:latin typeface="Calibri" pitchFamily="34" charset="0"/>
            </a:rPr>
            <a:t> </a:t>
          </a:r>
          <a:r>
            <a:rPr lang="en-US" sz="900" kern="1200" dirty="0" smtClean="0">
              <a:solidFill>
                <a:schemeClr val="tx1">
                  <a:lumMod val="25000"/>
                </a:schemeClr>
              </a:solidFill>
              <a:latin typeface="Calibri" pitchFamily="34" charset="0"/>
            </a:rPr>
            <a:t>Ratings</a:t>
          </a:r>
          <a:endParaRPr lang="ru-RU" sz="900" kern="1200" dirty="0">
            <a:solidFill>
              <a:schemeClr val="tx1">
                <a:lumMod val="25000"/>
              </a:schemeClr>
            </a:solidFill>
            <a:latin typeface="Calibri" pitchFamily="34" charset="0"/>
          </a:endParaRPr>
        </a:p>
      </dsp:txBody>
      <dsp:txXfrm>
        <a:off x="6063350" y="4859177"/>
        <a:ext cx="1613985" cy="59878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List1#2">
  <dgm:title val=""/>
  <dgm:desc val=""/>
  <dgm:catLst>
    <dgm:cat type="list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  <dgm:resizeHandles val="exact"/>
    </dgm:varLst>
    <dgm:choose name="Name1">
      <dgm:if name="Name2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  <dgm:param type="vertAlign" val="mid"/>
          <dgm:param type="horzAlign" val="ctr"/>
        </dgm:alg>
      </dgm:if>
      <dgm:else name="Name3">
        <dgm:alg type="snake">
          <dgm:param type="grDir" val="tR"/>
          <dgm:param type="flowDir" val="row"/>
          <dgm:param type="contDir" val="sameDir"/>
          <dgm:param type="off" val="ctr"/>
          <dgm:param type="vertAlign" val="mid"/>
          <dgm:param type="horzAlign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w" for="ch" ptType="sibTrans" refType="w" refFor="ch" refForName="compNode" op="equ" fact="0.1"/>
      <dgm:constr type="sp" refType="w" refFor="ch" refForName="compNode" op="equ" fact="0.1"/>
      <dgm:constr type="primFontSz" for="des" ptType="node" op="equ" val="65"/>
    </dgm:constrLst>
    <dgm:ruleLst/>
    <dgm:forEach name="Name4" axis="ch" ptType="node">
      <dgm:layoutNode name="compNode">
        <dgm:alg type="composite">
          <dgm:param type="ar" val="0.943"/>
        </dgm:alg>
        <dgm:shape xmlns:r="http://schemas.openxmlformats.org/officeDocument/2006/relationships" r:blip="">
          <dgm:adjLst/>
        </dgm:shape>
        <dgm:presOf axis="self"/>
        <dgm:constrLst>
          <dgm:constr type="h" refType="w" fact="1.06"/>
          <dgm:constr type="h" for="ch" forName="pictRect" refType="h" fact="0.65"/>
          <dgm:constr type="w" for="ch" forName="pictRect" refType="w"/>
          <dgm:constr type="l" for="ch" forName="pictRect"/>
          <dgm:constr type="t" for="ch" forName="pictRect"/>
          <dgm:constr type="w" for="ch" forName="textRect" refType="w"/>
          <dgm:constr type="h" for="ch" forName="textRect" refType="h" fact="0.35"/>
          <dgm:constr type="l" for="ch" forName="textRect"/>
          <dgm:constr type="t" for="ch" forName="textRect" refType="b" refFor="ch" refForName="pictRect"/>
        </dgm:constrLst>
        <dgm:ruleLst/>
        <dgm:layoutNode name="pictRect">
          <dgm:alg type="sp"/>
          <dgm:shape xmlns:r="http://schemas.openxmlformats.org/officeDocument/2006/relationships" type="roundRect" r:blip="" blipPhldr="1">
            <dgm:adjLst/>
          </dgm:shape>
          <dgm:presOf/>
          <dgm:constrLst/>
          <dgm:ruleLst/>
        </dgm:layoutNode>
        <dgm:layoutNode name="textRect" styleLbl="revTx">
          <dgm:varLst>
            <dgm:bulletEnabled val="1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bMarg"/>
          </dgm:constrLst>
          <dgm:ruleLst>
            <dgm:rule type="primFontSz" val="5" fact="NaN" max="NaN"/>
          </dgm:ruleLst>
        </dgm:layoutNode>
      </dgm:layoutNode>
      <dgm:forEach name="Name5" axis="followSib" ptType="sibTrans" cnt="1">
        <dgm:layoutNode name="sibTrans">
          <dgm:alg type="sp"/>
          <dgm:shape xmlns:r="http://schemas.openxmlformats.org/officeDocument/2006/relationships" type="rect" r:blip="" hideGeom="1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7970651-7813-4340-822C-522C810D80FA}" type="datetimeFigureOut">
              <a:rPr lang="ru-RU" smtClean="0"/>
              <a:t>10.11.201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C6F5F36-4459-4B1A-96B5-A025EA69BEC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39608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270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altLang="ru-RU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oleObject" Target="../embeddings/oleObject1.bin"/><Relationship Id="rId18" Type="http://schemas.openxmlformats.org/officeDocument/2006/relationships/oleObject" Target="../embeddings/oleObject2.bin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12" Type="http://schemas.openxmlformats.org/officeDocument/2006/relationships/slideMaster" Target="../slideMasters/slideMaster1.xml"/><Relationship Id="rId17" Type="http://schemas.openxmlformats.org/officeDocument/2006/relationships/image" Target="../media/image4.jpeg"/><Relationship Id="rId2" Type="http://schemas.openxmlformats.org/officeDocument/2006/relationships/tags" Target="../tags/tag1.xml"/><Relationship Id="rId16" Type="http://schemas.openxmlformats.org/officeDocument/2006/relationships/image" Target="../media/image3.jpeg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5" Type="http://schemas.openxmlformats.org/officeDocument/2006/relationships/tags" Target="../tags/tag4.xml"/><Relationship Id="rId15" Type="http://schemas.openxmlformats.org/officeDocument/2006/relationships/image" Target="../media/image2.jpeg"/><Relationship Id="rId10" Type="http://schemas.openxmlformats.org/officeDocument/2006/relationships/tags" Target="../tags/tag9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4DF660-EF24-4DFD-86E2-2C320311A3FE}" type="datetimeFigureOut">
              <a:rPr lang="ru-RU" smtClean="0"/>
              <a:t>10.11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161AC4-2D95-4F08-8606-44D32701CE9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8184880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4DF660-EF24-4DFD-86E2-2C320311A3FE}" type="datetimeFigureOut">
              <a:rPr lang="ru-RU" smtClean="0"/>
              <a:t>10.11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161AC4-2D95-4F08-8606-44D32701CE9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4280153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4DF660-EF24-4DFD-86E2-2C320311A3FE}" type="datetimeFigureOut">
              <a:rPr lang="ru-RU" smtClean="0"/>
              <a:t>10.11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161AC4-2D95-4F08-8606-44D32701CE9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1392528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2"/>
          <p:cNvGraphicFramePr>
            <a:graphicFrameLocks noChangeAspect="1"/>
          </p:cNvGraphicFramePr>
          <p:nvPr/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4" name="think-cell Slide" r:id="rId13" imgW="360" imgH="360" progId="TCLayout.ActiveDocument.1">
                  <p:embed/>
                </p:oleObj>
              </mc:Choice>
              <mc:Fallback>
                <p:oleObj name="think-cell Slide" r:id="rId13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8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435975" y="6610350"/>
            <a:ext cx="10160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kumimoji="1" sz="2800" b="1">
                <a:solidFill>
                  <a:schemeClr val="tx2"/>
                </a:solidFill>
                <a:latin typeface="Helvetica" pitchFamily="34" charset="0"/>
              </a:defRPr>
            </a:lvl1pPr>
            <a:lvl2pPr marL="742950" indent="-285750" eaLnBrk="0" hangingPunct="0">
              <a:defRPr kumimoji="1" sz="2800" b="1">
                <a:solidFill>
                  <a:schemeClr val="tx2"/>
                </a:solidFill>
                <a:latin typeface="Helvetica" pitchFamily="34" charset="0"/>
              </a:defRPr>
            </a:lvl2pPr>
            <a:lvl3pPr marL="1143000" indent="-228600" eaLnBrk="0" hangingPunct="0">
              <a:defRPr kumimoji="1" sz="2800" b="1">
                <a:solidFill>
                  <a:schemeClr val="tx2"/>
                </a:solidFill>
                <a:latin typeface="Helvetica" pitchFamily="34" charset="0"/>
              </a:defRPr>
            </a:lvl3pPr>
            <a:lvl4pPr marL="1600200" indent="-228600" eaLnBrk="0" hangingPunct="0">
              <a:defRPr kumimoji="1" sz="2800" b="1">
                <a:solidFill>
                  <a:schemeClr val="tx2"/>
                </a:solidFill>
                <a:latin typeface="Helvetica" pitchFamily="34" charset="0"/>
              </a:defRPr>
            </a:lvl4pPr>
            <a:lvl5pPr marL="2057400" indent="-228600" eaLnBrk="0" hangingPunct="0">
              <a:defRPr kumimoji="1" sz="2800" b="1">
                <a:solidFill>
                  <a:schemeClr val="tx2"/>
                </a:solidFill>
                <a:latin typeface="Helvetic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800" b="1">
                <a:solidFill>
                  <a:schemeClr val="tx2"/>
                </a:solidFill>
                <a:latin typeface="Helvetic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800" b="1">
                <a:solidFill>
                  <a:schemeClr val="tx2"/>
                </a:solidFill>
                <a:latin typeface="Helvetic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800" b="1">
                <a:solidFill>
                  <a:schemeClr val="tx2"/>
                </a:solidFill>
                <a:latin typeface="Helvetic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800" b="1">
                <a:solidFill>
                  <a:schemeClr val="tx2"/>
                </a:solidFill>
                <a:latin typeface="Helvetica" pitchFamily="34" charset="0"/>
              </a:defRPr>
            </a:lvl9pPr>
          </a:lstStyle>
          <a:p>
            <a:pPr algn="r">
              <a:spcBef>
                <a:spcPct val="50000"/>
              </a:spcBef>
            </a:pPr>
            <a:fld id="{098D99F0-5D59-4AC5-8B2F-13F774446D79}" type="slidenum">
              <a:rPr kumimoji="0" lang="en-US" altLang="ru-RU" sz="800" b="0">
                <a:solidFill>
                  <a:srgbClr val="000000"/>
                </a:solidFill>
                <a:latin typeface="Arial Narrow" pitchFamily="34" charset="0"/>
              </a:rPr>
              <a:pPr algn="r">
                <a:spcBef>
                  <a:spcPct val="50000"/>
                </a:spcBef>
              </a:pPr>
              <a:t>‹#›</a:t>
            </a:fld>
            <a:endParaRPr kumimoji="0" lang="en-US" altLang="ru-RU" sz="800" b="0">
              <a:solidFill>
                <a:srgbClr val="000000"/>
              </a:solidFill>
              <a:latin typeface="Arial Narrow" pitchFamily="34" charset="0"/>
            </a:endParaRPr>
          </a:p>
        </p:txBody>
      </p:sp>
      <p:pic>
        <p:nvPicPr>
          <p:cNvPr id="5" name="Рисунок 10" descr="ppt_common_page2 копия копия.jp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525" y="320675"/>
            <a:ext cx="646113" cy="601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Рисунок 5" descr="try.jpg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4000" y="6057900"/>
            <a:ext cx="2540000" cy="80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Рисунок 5" descr="rus.jpg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12013" y="369888"/>
            <a:ext cx="1931987" cy="50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8"/>
          <p:cNvSpPr/>
          <p:nvPr userDrawn="1">
            <p:custDataLst>
              <p:tags r:id="rId6"/>
            </p:custDataLst>
          </p:nvPr>
        </p:nvSpPr>
        <p:spPr>
          <a:xfrm>
            <a:off x="8558213" y="6734175"/>
            <a:ext cx="346075" cy="122238"/>
          </a:xfrm>
          <a:prstGeom prst="rect">
            <a:avLst/>
          </a:prstGeom>
          <a:solidFill>
            <a:srgbClr val="FFFFFF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ru-RU" sz="1300" b="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9" name="Slide Number"/>
          <p:cNvSpPr txBox="1"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8662988" y="6718300"/>
            <a:ext cx="141287" cy="138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900" b="0" smtClean="0"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B0FBEDAD-94F8-48F6-A71D-9F7E79596A5A}" type="slidenum">
              <a:rPr kumimoji="0" lang="en-US">
                <a:solidFill>
                  <a:srgbClr val="6CAAC0">
                    <a:lumMod val="75000"/>
                  </a:srgbClr>
                </a:solidFill>
                <a:latin typeface="Arial"/>
                <a:cs typeface="Arial" pitchFamily="34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kumimoji="0" lang="en-US" dirty="0">
              <a:solidFill>
                <a:srgbClr val="6CAAC0">
                  <a:lumMod val="75000"/>
                </a:srgbClr>
              </a:solidFill>
              <a:latin typeface="Arial"/>
              <a:cs typeface="Arial" pitchFamily="34" charset="0"/>
            </a:endParaRPr>
          </a:p>
        </p:txBody>
      </p:sp>
      <p:sp>
        <p:nvSpPr>
          <p:cNvPr id="11" name="Slide Number Line"/>
          <p:cNvSpPr>
            <a:spLocks noChangeShapeType="1"/>
          </p:cNvSpPr>
          <p:nvPr userDrawn="1">
            <p:custDataLst>
              <p:tags r:id="rId8"/>
            </p:custDataLst>
          </p:nvPr>
        </p:nvSpPr>
        <p:spPr bwMode="auto">
          <a:xfrm>
            <a:off x="8556625" y="6734175"/>
            <a:ext cx="0" cy="123825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spAutoFit/>
          </a:bodyPr>
          <a:lstStyle/>
          <a:p>
            <a:endParaRPr lang="ru-RU"/>
          </a:p>
        </p:txBody>
      </p:sp>
      <p:cxnSp>
        <p:nvCxnSpPr>
          <p:cNvPr id="12" name="Straight Connector 11"/>
          <p:cNvCxnSpPr/>
          <p:nvPr userDrawn="1">
            <p:custDataLst>
              <p:tags r:id="rId9"/>
            </p:custDataLst>
          </p:nvPr>
        </p:nvCxnSpPr>
        <p:spPr>
          <a:xfrm>
            <a:off x="8556625" y="6724650"/>
            <a:ext cx="347663" cy="0"/>
          </a:xfrm>
          <a:prstGeom prst="line">
            <a:avLst/>
          </a:prstGeom>
          <a:ln w="22225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3" name="AutoShape 20"/>
          <p:cNvGraphicFramePr>
            <a:graphicFrameLocks/>
          </p:cNvGraphicFramePr>
          <p:nvPr/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5" name="think-cell Slide" r:id="rId18" imgW="0" imgH="0" progId="TCLayout.ActiveDocument.1">
                  <p:embed/>
                </p:oleObj>
              </mc:Choice>
              <mc:Fallback>
                <p:oleObj name="think-cell Slide" r:id="rId18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77007" y="941604"/>
            <a:ext cx="7879374" cy="6010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Footer Placeholder 22"/>
          <p:cNvSpPr>
            <a:spLocks noGrp="1"/>
          </p:cNvSpPr>
          <p:nvPr>
            <p:ph type="ftr" sz="quarter" idx="10"/>
            <p:custDataLst>
              <p:tags r:id="rId10"/>
            </p:custDataLst>
          </p:nvPr>
        </p:nvSpPr>
        <p:spPr>
          <a:xfrm>
            <a:off x="7845425" y="6867525"/>
            <a:ext cx="1165225" cy="30163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 fontAlgn="auto">
              <a:spcBef>
                <a:spcPts val="0"/>
              </a:spcBef>
              <a:spcAft>
                <a:spcPts val="0"/>
              </a:spcAft>
              <a:defRPr kumimoji="0" sz="200" b="0">
                <a:solidFill>
                  <a:srgbClr val="FFFFFF"/>
                </a:solidFill>
                <a:latin typeface="+mn-lt"/>
                <a:ea typeface="MS PGothic" pitchFamily="34" charset="-128"/>
                <a:cs typeface="Arial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5" name="Slide Number Placeholder 28"/>
          <p:cNvSpPr>
            <a:spLocks noGrp="1"/>
          </p:cNvSpPr>
          <p:nvPr>
            <p:ph type="sldNum" sz="quarter" idx="11"/>
            <p:custDataLst>
              <p:tags r:id="rId11"/>
            </p:custDataLst>
          </p:nvPr>
        </p:nvSpPr>
        <p:spPr>
          <a:xfrm>
            <a:off x="9028113" y="6867525"/>
            <a:ext cx="109537" cy="30163"/>
          </a:xfrm>
          <a:prstGeom prst="rect">
            <a:avLst/>
          </a:prstGeom>
        </p:spPr>
        <p:txBody>
          <a:bodyPr wrap="square" lIns="0" tIns="0" rIns="0" bIns="0" numCol="1" anchorCtr="0" compatLnSpc="1">
            <a:prstTxWarp prst="textNoShape">
              <a:avLst/>
            </a:prstTxWarp>
            <a:spAutoFit/>
          </a:bodyPr>
          <a:lstStyle>
            <a:lvl1pPr fontAlgn="auto">
              <a:spcBef>
                <a:spcPts val="0"/>
              </a:spcBef>
              <a:spcAft>
                <a:spcPts val="0"/>
              </a:spcAft>
              <a:defRPr kumimoji="0" sz="200" b="0">
                <a:solidFill>
                  <a:srgbClr val="FFFFFF"/>
                </a:solidFill>
                <a:latin typeface="+mn-lt"/>
                <a:ea typeface="MS PGothic" pitchFamily="34" charset="-128"/>
                <a:cs typeface="Arial" pitchFamily="34" charset="0"/>
              </a:defRPr>
            </a:lvl1pPr>
          </a:lstStyle>
          <a:p>
            <a:pPr>
              <a:defRPr/>
            </a:pPr>
            <a:fld id="{0B221AA9-6EBA-4B10-BA9B-F6EE85FFCAB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06274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Прямая соединительная линия 1"/>
          <p:cNvCxnSpPr/>
          <p:nvPr userDrawn="1"/>
        </p:nvCxnSpPr>
        <p:spPr bwMode="auto">
          <a:xfrm flipV="1">
            <a:off x="274638" y="6099175"/>
            <a:ext cx="8674100" cy="17463"/>
          </a:xfrm>
          <a:prstGeom prst="line">
            <a:avLst/>
          </a:prstGeom>
          <a:noFill/>
          <a:ln w="19050" cap="flat" cmpd="sng" algn="ctr">
            <a:solidFill>
              <a:schemeClr val="tx1">
                <a:lumMod val="2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" name="Прямоугольник 2"/>
          <p:cNvSpPr/>
          <p:nvPr userDrawn="1"/>
        </p:nvSpPr>
        <p:spPr bwMode="auto">
          <a:xfrm>
            <a:off x="3711575" y="4749800"/>
            <a:ext cx="1676400" cy="398463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eaLnBrk="0" hangingPunct="0">
              <a:defRPr/>
            </a:pPr>
            <a:endParaRPr lang="ru-RU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4" name="Рисунок 8" descr="presentation shablon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376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Прямоугольник 4"/>
          <p:cNvSpPr/>
          <p:nvPr userDrawn="1"/>
        </p:nvSpPr>
        <p:spPr bwMode="auto">
          <a:xfrm>
            <a:off x="3581400" y="4713288"/>
            <a:ext cx="1801813" cy="461962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eaLnBrk="0" hangingPunct="0">
              <a:defRPr/>
            </a:pPr>
            <a:endParaRPr lang="ru-RU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985878963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4DF660-EF24-4DFD-86E2-2C320311A3FE}" type="datetimeFigureOut">
              <a:rPr lang="ru-RU" smtClean="0"/>
              <a:t>10.11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161AC4-2D95-4F08-8606-44D32701CE9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4641398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4DF660-EF24-4DFD-86E2-2C320311A3FE}" type="datetimeFigureOut">
              <a:rPr lang="ru-RU" smtClean="0"/>
              <a:t>10.11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161AC4-2D95-4F08-8606-44D32701CE9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481848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4DF660-EF24-4DFD-86E2-2C320311A3FE}" type="datetimeFigureOut">
              <a:rPr lang="ru-RU" smtClean="0"/>
              <a:t>10.11.201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161AC4-2D95-4F08-8606-44D32701CE9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787968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4DF660-EF24-4DFD-86E2-2C320311A3FE}" type="datetimeFigureOut">
              <a:rPr lang="ru-RU" smtClean="0"/>
              <a:t>10.11.2014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161AC4-2D95-4F08-8606-44D32701CE9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114841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4DF660-EF24-4DFD-86E2-2C320311A3FE}" type="datetimeFigureOut">
              <a:rPr lang="ru-RU" smtClean="0"/>
              <a:t>10.11.2014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161AC4-2D95-4F08-8606-44D32701CE9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395009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4DF660-EF24-4DFD-86E2-2C320311A3FE}" type="datetimeFigureOut">
              <a:rPr lang="ru-RU" smtClean="0"/>
              <a:t>10.11.2014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161AC4-2D95-4F08-8606-44D32701CE9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1612413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4DF660-EF24-4DFD-86E2-2C320311A3FE}" type="datetimeFigureOut">
              <a:rPr lang="ru-RU" smtClean="0"/>
              <a:t>10.11.201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161AC4-2D95-4F08-8606-44D32701CE9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759150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4DF660-EF24-4DFD-86E2-2C320311A3FE}" type="datetimeFigureOut">
              <a:rPr lang="ru-RU" smtClean="0"/>
              <a:t>10.11.201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161AC4-2D95-4F08-8606-44D32701CE9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505493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84DF660-EF24-4DFD-86E2-2C320311A3FE}" type="datetimeFigureOut">
              <a:rPr lang="ru-RU" smtClean="0"/>
              <a:t>10.11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A161AC4-2D95-4F08-8606-44D32701CE9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488780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17.jpe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4"/>
          <p:cNvSpPr>
            <a:spLocks noChangeArrowheads="1"/>
          </p:cNvSpPr>
          <p:nvPr/>
        </p:nvSpPr>
        <p:spPr bwMode="auto">
          <a:xfrm>
            <a:off x="1228725" y="4122738"/>
            <a:ext cx="6403975" cy="13849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>
              <a:defRPr/>
            </a:pPr>
            <a:r>
              <a:rPr lang="ru-RU" sz="2000" dirty="0" smtClean="0">
                <a:solidFill>
                  <a:srgbClr val="004873"/>
                </a:solidFill>
                <a:latin typeface="Calibri" pitchFamily="34" charset="0"/>
                <a:cs typeface="Tahoma" pitchFamily="34" charset="0"/>
              </a:rPr>
              <a:t>Актуальные вопросы реализации ГЧП проектов в отношении коммунальных объектов водоснабжения и водоотведения: проблемы и пути их решения</a:t>
            </a:r>
            <a:endParaRPr lang="ru-RU" sz="2000" dirty="0">
              <a:solidFill>
                <a:srgbClr val="004873"/>
              </a:solidFill>
              <a:latin typeface="Calibri" pitchFamily="34" charset="0"/>
              <a:cs typeface="Tahoma" pitchFamily="34" charset="0"/>
            </a:endParaRPr>
          </a:p>
          <a:p>
            <a:pPr algn="ctr" eaLnBrk="0" hangingPunct="0">
              <a:defRPr/>
            </a:pPr>
            <a:endParaRPr kumimoji="0" lang="ru-RU" sz="2400" dirty="0">
              <a:solidFill>
                <a:srgbClr val="004873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Calibri" pitchFamily="34" charset="0"/>
              <a:cs typeface="Tahoma" pitchFamily="34" charset="0"/>
            </a:endParaRPr>
          </a:p>
        </p:txBody>
      </p:sp>
      <p:cxnSp>
        <p:nvCxnSpPr>
          <p:cNvPr id="57347" name="Прямая соединительная линия 3"/>
          <p:cNvCxnSpPr>
            <a:cxnSpLocks noChangeShapeType="1"/>
          </p:cNvCxnSpPr>
          <p:nvPr/>
        </p:nvCxnSpPr>
        <p:spPr bwMode="auto">
          <a:xfrm rot="10800000" flipV="1">
            <a:off x="250825" y="6145213"/>
            <a:ext cx="8712200" cy="9525"/>
          </a:xfrm>
          <a:prstGeom prst="line">
            <a:avLst/>
          </a:prstGeom>
          <a:noFill/>
          <a:ln w="9525" algn="ctr">
            <a:solidFill>
              <a:srgbClr val="0047B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4" name="Rectangle 4"/>
          <p:cNvSpPr>
            <a:spLocks noChangeArrowheads="1"/>
          </p:cNvSpPr>
          <p:nvPr/>
        </p:nvSpPr>
        <p:spPr bwMode="auto">
          <a:xfrm>
            <a:off x="1282700" y="6223000"/>
            <a:ext cx="6403975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>
              <a:defRPr/>
            </a:pPr>
            <a:r>
              <a:rPr lang="ru-RU" sz="2000" dirty="0">
                <a:solidFill>
                  <a:srgbClr val="004873"/>
                </a:solidFill>
                <a:latin typeface="Calibri" pitchFamily="34" charset="0"/>
                <a:cs typeface="Tahoma" pitchFamily="34" charset="0"/>
              </a:rPr>
              <a:t>2014 г.</a:t>
            </a:r>
            <a:endParaRPr kumimoji="0" lang="ru-RU" sz="2000" dirty="0">
              <a:solidFill>
                <a:srgbClr val="004873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Calibri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6409838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Схема 3"/>
          <p:cNvGraphicFramePr/>
          <p:nvPr>
            <p:extLst>
              <p:ext uri="{D42A27DB-BD31-4B8C-83A1-F6EECF244321}">
                <p14:modId xmlns:p14="http://schemas.microsoft.com/office/powerpoint/2010/main" val="138274518"/>
              </p:ext>
            </p:extLst>
          </p:nvPr>
        </p:nvGraphicFramePr>
        <p:xfrm>
          <a:off x="-25073" y="1128832"/>
          <a:ext cx="8414330" cy="546066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Rectangle 3"/>
          <p:cNvSpPr>
            <a:spLocks noChangeArrowheads="1"/>
          </p:cNvSpPr>
          <p:nvPr/>
        </p:nvSpPr>
        <p:spPr bwMode="auto">
          <a:xfrm>
            <a:off x="857250" y="93663"/>
            <a:ext cx="3714750" cy="276225"/>
          </a:xfrm>
          <a:prstGeom prst="rect">
            <a:avLst/>
          </a:prstGeom>
          <a:solidFill>
            <a:srgbClr val="FFFFFF"/>
          </a:solidFill>
          <a:ln>
            <a:noFill/>
            <a:headEnd/>
            <a:tailEnd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eaLnBrk="0" hangingPunct="0">
              <a:defRPr/>
            </a:pPr>
            <a:r>
              <a:rPr lang="ru-RU" sz="1200" i="1" dirty="0">
                <a:solidFill>
                  <a:schemeClr val="tx1">
                    <a:lumMod val="50000"/>
                  </a:schemeClr>
                </a:solidFill>
                <a:latin typeface="Calibri" pitchFamily="34" charset="0"/>
                <a:cs typeface="Tahoma" pitchFamily="34" charset="0"/>
              </a:rPr>
              <a:t>ЧИСТАЯ ВОДА ДЛЯ ГОРОДОВ РОССИИ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22275" y="358775"/>
            <a:ext cx="285750" cy="46196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0" hangingPunct="0">
              <a:defRPr/>
            </a:pPr>
            <a:r>
              <a:rPr lang="ru-RU" sz="2400" dirty="0" smtClean="0">
                <a:solidFill>
                  <a:schemeClr val="accent1"/>
                </a:solidFill>
                <a:latin typeface="Calibri" pitchFamily="34" charset="0"/>
              </a:rPr>
              <a:t>2</a:t>
            </a:r>
            <a:endParaRPr lang="ru-RU" sz="2400" dirty="0">
              <a:solidFill>
                <a:schemeClr val="accent1"/>
              </a:solidFill>
              <a:latin typeface="Calibri" pitchFamily="34" charset="0"/>
            </a:endParaRPr>
          </a:p>
        </p:txBody>
      </p:sp>
      <p:cxnSp>
        <p:nvCxnSpPr>
          <p:cNvPr id="61445" name="Прямая соединительная линия 6"/>
          <p:cNvCxnSpPr>
            <a:cxnSpLocks noChangeShapeType="1"/>
          </p:cNvCxnSpPr>
          <p:nvPr/>
        </p:nvCxnSpPr>
        <p:spPr bwMode="auto">
          <a:xfrm>
            <a:off x="928688" y="379413"/>
            <a:ext cx="5892800" cy="1587"/>
          </a:xfrm>
          <a:prstGeom prst="line">
            <a:avLst/>
          </a:prstGeom>
          <a:noFill/>
          <a:ln w="9525" algn="ctr">
            <a:solidFill>
              <a:srgbClr val="0047B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9" name="TextBox 5"/>
          <p:cNvSpPr txBox="1">
            <a:spLocks noChangeArrowheads="1"/>
          </p:cNvSpPr>
          <p:nvPr/>
        </p:nvSpPr>
        <p:spPr bwMode="auto">
          <a:xfrm>
            <a:off x="885825" y="498475"/>
            <a:ext cx="6500813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>
              <a:defRPr/>
            </a:pPr>
            <a:r>
              <a:rPr lang="ru-RU" sz="1600" b="1" dirty="0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лючевые показатели</a:t>
            </a:r>
            <a:r>
              <a:rPr lang="en-US" sz="1600" b="1" dirty="0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600" b="1" dirty="0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К «РОСВОДОКАНАЛ»</a:t>
            </a:r>
          </a:p>
          <a:p>
            <a:pPr eaLnBrk="0" hangingPunct="0">
              <a:defRPr/>
            </a:pPr>
            <a:endParaRPr lang="ru-RU" sz="1200" dirty="0">
              <a:solidFill>
                <a:schemeClr val="tx1">
                  <a:lumMod val="25000"/>
                </a:schemeClr>
              </a:solidFill>
              <a:latin typeface="Calibri" pitchFamily="34" charset="0"/>
              <a:cs typeface="Tahoma" pitchFamily="34" charset="0"/>
            </a:endParaRPr>
          </a:p>
        </p:txBody>
      </p:sp>
      <p:pic>
        <p:nvPicPr>
          <p:cNvPr id="12" name="Рисунок 11" descr="115.jpg"/>
          <p:cNvPicPr>
            <a:picLocks noChangeAspect="1"/>
          </p:cNvPicPr>
          <p:nvPr/>
        </p:nvPicPr>
        <p:blipFill>
          <a:blip r:embed="rId7" cstate="print">
            <a:grayscl/>
          </a:blip>
          <a:stretch>
            <a:fillRect/>
          </a:stretch>
        </p:blipFill>
        <p:spPr>
          <a:xfrm>
            <a:off x="685800" y="1155113"/>
            <a:ext cx="1643690" cy="1094723"/>
          </a:xfrm>
          <a:prstGeom prst="roundRect">
            <a:avLst/>
          </a:prstGeom>
          <a:ln>
            <a:solidFill>
              <a:srgbClr val="66CCFF"/>
            </a:solidFill>
          </a:ln>
        </p:spPr>
      </p:pic>
    </p:spTree>
    <p:extLst>
      <p:ext uri="{BB962C8B-B14F-4D97-AF65-F5344CB8AC3E}">
        <p14:creationId xmlns:p14="http://schemas.microsoft.com/office/powerpoint/2010/main" val="534125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508279" y="1117634"/>
            <a:ext cx="8210417" cy="5170646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 rtlCol="0">
            <a:spAutoFit/>
          </a:bodyPr>
          <a:lstStyle/>
          <a:p>
            <a:pPr algn="just"/>
            <a:r>
              <a:rPr 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       Доля </a:t>
            </a: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ынка частных операторов в ВиВ по различным оценкам составляет от 16% до </a:t>
            </a:r>
            <a:r>
              <a:rPr 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5%. </a:t>
            </a: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ольшинство систем водоснабжения российских городов в настоящее время эксплуатируют государственные и муниципальные унитарные предприятия или полностью принадлежащие государству и муниципалитетам хозяйственные общества. </a:t>
            </a:r>
          </a:p>
          <a:p>
            <a:pPr lvl="0" algn="just"/>
            <a:endParaRPr lang="ru-RU" sz="1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0" algn="just"/>
            <a:r>
              <a:rPr 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      Проблема </a:t>
            </a:r>
            <a:r>
              <a:rPr 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КХ – первая у россиян по значимости и актуальности в перечне наиболее актуальных проблем для себя лично и для страны (ВЦИОМ, 2014).</a:t>
            </a:r>
          </a:p>
          <a:p>
            <a:pPr lvl="0" algn="just"/>
            <a:endParaRPr lang="ru-RU" sz="14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0" algn="just"/>
            <a:r>
              <a:rPr 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      Более </a:t>
            </a:r>
            <a:r>
              <a:rPr 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рети населения России (50 млн. чел.) пьет воду, не соответствующую СанПиН (прежде всего, по содержанию железа), а 11 млн.чел. пьют воду, не отвечающую показателям безопасности питьевой воды. </a:t>
            </a:r>
          </a:p>
          <a:p>
            <a:pPr lvl="0" algn="just"/>
            <a:endParaRPr lang="ru-RU" sz="14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0" algn="just"/>
            <a:r>
              <a:rPr 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      Износ </a:t>
            </a:r>
            <a:r>
              <a:rPr 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ъектов ВКХ составляет более 60%. Темп реконструкции и модернизации объектов ВКХ не компенсирует рост </a:t>
            </a:r>
            <a:r>
              <a:rPr 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зноса.</a:t>
            </a:r>
            <a:endParaRPr lang="ru-RU" sz="14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0" algn="just"/>
            <a:endParaRPr lang="ru-RU" sz="14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0" algn="just"/>
            <a:r>
              <a:rPr 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      Эксплуатируемые </a:t>
            </a:r>
            <a:r>
              <a:rPr 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одоканалами очистные сооружения и применяемые на них технологии очистки сточных вод технологически </a:t>
            </a:r>
            <a:r>
              <a:rPr 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старели.</a:t>
            </a:r>
            <a:endParaRPr lang="ru-RU" sz="14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0" algn="just"/>
            <a:endParaRPr lang="ru-RU" sz="14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0" algn="just"/>
            <a:r>
              <a:rPr 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      По </a:t>
            </a:r>
            <a:r>
              <a:rPr 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экспертным оценкам, на модернизацию отрасли необходимо 9 триллионов рублей (по 500 миллиардов рублей в год в течение 15-20 лет). Объекты ВКХ являются наиболее капиталоемкими объектами инфраструктуры. </a:t>
            </a:r>
          </a:p>
          <a:p>
            <a:pPr lvl="0" algn="just"/>
            <a:endParaRPr lang="ru-RU" sz="14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0" algn="just"/>
            <a:endParaRPr lang="ru-RU" sz="14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0" algn="just"/>
            <a:r>
              <a:rPr lang="ru-RU" sz="1400" b="1" dirty="0" smtClean="0">
                <a:solidFill>
                  <a:schemeClr val="bg2"/>
                </a:solidFill>
              </a:rPr>
              <a:t> </a:t>
            </a:r>
            <a:endParaRPr lang="ru-RU" sz="1400" b="1" dirty="0" smtClean="0">
              <a:solidFill>
                <a:schemeClr val="bg2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899592" y="404664"/>
            <a:ext cx="5976664" cy="3600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b="1" dirty="0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екущая ситуация в сфере водоснабжения и водоотведения (ВиВ) в России</a:t>
            </a:r>
            <a:endParaRPr lang="ru-RU" sz="1600" dirty="0">
              <a:solidFill>
                <a:schemeClr val="tx2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971600" y="908720"/>
            <a:ext cx="619268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Прямоугольник 9"/>
          <p:cNvSpPr/>
          <p:nvPr/>
        </p:nvSpPr>
        <p:spPr>
          <a:xfrm>
            <a:off x="508279" y="404664"/>
            <a:ext cx="175289" cy="3600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dirty="0" smtClean="0">
                <a:solidFill>
                  <a:schemeClr val="accent1"/>
                </a:solidFill>
              </a:rPr>
              <a:t>3</a:t>
            </a:r>
            <a:endParaRPr lang="ru-RU" sz="24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16639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655199" y="1700808"/>
            <a:ext cx="8089837" cy="3447098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 rtlCol="0">
            <a:spAutoFit/>
          </a:bodyPr>
          <a:lstStyle/>
          <a:p>
            <a:pPr lvl="0" algn="just"/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    </a:t>
            </a:r>
            <a:r>
              <a:rPr 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акрепление </a:t>
            </a:r>
            <a:r>
              <a:rPr 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 весь срок действия концессионного соглашения долгосрочных параметров тарифного регулирования, в соответствии с которыми должны устанавливаться тарифы концессионера.</a:t>
            </a:r>
          </a:p>
          <a:p>
            <a:pPr lvl="0" algn="just"/>
            <a:r>
              <a:rPr 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</a:p>
          <a:p>
            <a:pPr lvl="0" algn="just"/>
            <a:r>
              <a:rPr 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     Бюджетное </a:t>
            </a:r>
            <a:r>
              <a:rPr 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озмещение недополученных доходов водоканалов в результате установления тарифов не в соответствии с долгосрочными параметрами регулирования тарифов, установленными концессионным соглашением, или в связи с изменение долгосрочных тарифов. </a:t>
            </a:r>
          </a:p>
          <a:p>
            <a:pPr lvl="0" algn="just"/>
            <a:endParaRPr lang="ru-RU" sz="14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0" algn="just"/>
            <a:r>
              <a:rPr 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    Появляющаяся </a:t>
            </a:r>
            <a:r>
              <a:rPr 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 01.05.2015 г. возможность заключения концессионных соглашений в порядке частной инициативы, без проведения конкурса. </a:t>
            </a:r>
          </a:p>
          <a:p>
            <a:pPr lvl="0" algn="just"/>
            <a:endParaRPr lang="ru-RU" sz="14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0" algn="just"/>
            <a:r>
              <a:rPr 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     Утверждение </a:t>
            </a:r>
            <a:r>
              <a:rPr 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 реализация Плана действий по привлечению в ЖКХ частных </a:t>
            </a:r>
            <a:r>
              <a:rPr 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вестиций</a:t>
            </a:r>
          </a:p>
          <a:p>
            <a:pPr lvl="0" algn="just"/>
            <a:endParaRPr lang="ru-RU" sz="14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0" algn="just"/>
            <a:r>
              <a:rPr 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     Поручение </a:t>
            </a:r>
            <a:r>
              <a:rPr 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езидента (Пр-1479 от 06.07.2013) о передаче частным инвесторам в срок до 1 января 2016 г. объектов ЖКХ унитарных предприятий, осуществляющих неэффективное управление.</a:t>
            </a:r>
            <a:endParaRPr lang="ru-RU" sz="13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934614" y="404664"/>
            <a:ext cx="6192688" cy="432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b="1" dirty="0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ействия государства по привлечению частных инвестиций </a:t>
            </a:r>
            <a:endParaRPr lang="ru-RU" sz="1600" b="1" dirty="0">
              <a:solidFill>
                <a:schemeClr val="tx2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1043608" y="980728"/>
            <a:ext cx="608369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6"/>
          <p:cNvSpPr/>
          <p:nvPr/>
        </p:nvSpPr>
        <p:spPr>
          <a:xfrm>
            <a:off x="467544" y="404664"/>
            <a:ext cx="187655" cy="432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dirty="0" smtClean="0">
                <a:solidFill>
                  <a:schemeClr val="accent1"/>
                </a:solidFill>
              </a:rPr>
              <a:t>4</a:t>
            </a:r>
            <a:endParaRPr lang="ru-RU" sz="24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80473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717621" y="1130659"/>
            <a:ext cx="7947333" cy="5601533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 rtlCol="0">
            <a:spAutoFit/>
          </a:bodyPr>
          <a:lstStyle/>
          <a:p>
            <a:pPr lvl="0" algn="just"/>
            <a:r>
              <a:rPr lang="ru-RU" sz="1400" dirty="0" smtClean="0">
                <a:solidFill>
                  <a:srgbClr val="00B0F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ГРАНИЧЕННОСТЬ ФОРМ ПРИВЛЕЧЕНИЯ ЧАСТНЫХ ИНВЕСТИЦИЙ </a:t>
            </a:r>
          </a:p>
          <a:p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 04.08.2013 г.  запрещена приватизация объектов ВКХ.</a:t>
            </a:r>
          </a:p>
          <a:p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 01.01.2014 г. основной формой привлечения инвестиций является концессия, аренда – только для объектов, не старше 5 лет.</a:t>
            </a:r>
          </a:p>
          <a:p>
            <a:pPr lvl="0" algn="just"/>
            <a:endParaRPr lang="ru-RU" sz="1400" b="1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0" algn="just"/>
            <a:r>
              <a:rPr lang="ru-RU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едложение</a:t>
            </a:r>
            <a:r>
              <a:rPr lang="ru-RU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 </a:t>
            </a:r>
            <a:r>
              <a:rPr 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спользование соглашений о ГЧП для модернизации и управлении объектами водокоммунального хозяйства.</a:t>
            </a:r>
            <a:endParaRPr lang="ru-RU" sz="14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0" algn="just"/>
            <a:r>
              <a:rPr 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</a:p>
          <a:p>
            <a:pPr lvl="0" algn="just"/>
            <a:r>
              <a:rPr lang="ru-RU" sz="1400" dirty="0" smtClean="0">
                <a:solidFill>
                  <a:srgbClr val="00B0F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ЭКОЛОГИЧЕСКИЕ РИСКИ</a:t>
            </a:r>
          </a:p>
          <a:p>
            <a:pPr lvl="0" algn="just"/>
            <a:r>
              <a:rPr 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олоссальные суммы возмещения вреда водным объектам из-за сброса через коммунальные очистные сооружения сточных вод, содержащих промышленные загрязнители.</a:t>
            </a:r>
            <a:r>
              <a:rPr lang="ru-RU" sz="1400" dirty="0" smtClean="0">
                <a:solidFill>
                  <a:srgbClr val="00B0F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endParaRPr lang="ru-RU" sz="1400" dirty="0" smtClean="0">
              <a:solidFill>
                <a:srgbClr val="00B0F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just"/>
            <a:endParaRPr lang="ru-RU" sz="1400" b="1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just"/>
            <a:r>
              <a:rPr lang="ru-RU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едложение</a:t>
            </a:r>
            <a:r>
              <a:rPr 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 разделение ответственности между водоканалами и промышленными абонентами за вред окружающей среде с направлением платы таких абонентов за негативное воздействие на окружающую среду на финансирование модернизации очистных сооружений</a:t>
            </a:r>
          </a:p>
          <a:p>
            <a:pPr algn="just"/>
            <a:endParaRPr lang="ru-RU" sz="1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0" algn="just"/>
            <a:r>
              <a:rPr lang="ru-RU" sz="1400" dirty="0">
                <a:solidFill>
                  <a:srgbClr val="00B0F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ИСКИ НЕПЛАТЕЖЕЙ АБОНЕНТОВ</a:t>
            </a:r>
          </a:p>
          <a:p>
            <a:pPr lvl="0" algn="just"/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изкая эффективность механизмов принудительного взыскания, отсутствие действенных превентивных мер.</a:t>
            </a:r>
          </a:p>
          <a:p>
            <a:pPr lvl="0" algn="just"/>
            <a:endParaRPr lang="ru-RU" sz="1400" b="1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0" algn="just"/>
            <a:r>
              <a:rPr lang="ru-RU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едложение</a:t>
            </a:r>
            <a:r>
              <a:rPr lang="ru-RU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</a:t>
            </a: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переход на прямые платежи между водоканалами и населением, усиление ответственности за неплатежи.</a:t>
            </a:r>
          </a:p>
          <a:p>
            <a:pPr algn="just"/>
            <a:endParaRPr lang="ru-RU" sz="1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0" algn="just"/>
            <a:endParaRPr lang="ru-RU" sz="14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0" algn="just"/>
            <a:r>
              <a:rPr 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endParaRPr lang="ru-RU" sz="1400" dirty="0" smtClean="0">
              <a:solidFill>
                <a:srgbClr val="00B0F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0" algn="just"/>
            <a:endParaRPr lang="ru-RU" sz="1400" dirty="0" smtClean="0">
              <a:solidFill>
                <a:srgbClr val="00B0F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899592" y="404664"/>
            <a:ext cx="6120680" cy="432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600" b="1" dirty="0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сновные проблемы по привлечению частных инвестиций и пути их решения</a:t>
            </a:r>
            <a:endParaRPr lang="ru-RU" sz="1600" b="1" dirty="0">
              <a:solidFill>
                <a:schemeClr val="tx2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12" name="Прямая соединительная линия 11"/>
          <p:cNvCxnSpPr/>
          <p:nvPr/>
        </p:nvCxnSpPr>
        <p:spPr>
          <a:xfrm>
            <a:off x="1043608" y="980728"/>
            <a:ext cx="612068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Прямоугольник 12"/>
          <p:cNvSpPr/>
          <p:nvPr/>
        </p:nvSpPr>
        <p:spPr>
          <a:xfrm>
            <a:off x="467544" y="404664"/>
            <a:ext cx="250077" cy="3600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dirty="0" smtClean="0">
                <a:solidFill>
                  <a:schemeClr val="accent1"/>
                </a:solidFill>
              </a:rPr>
              <a:t>5</a:t>
            </a:r>
            <a:endParaRPr lang="ru-RU" sz="24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48540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971600" y="404664"/>
            <a:ext cx="6048672" cy="432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600" b="1" dirty="0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сновные проблемы по привлечению частных инвестиций и пути их решения</a:t>
            </a:r>
            <a:endParaRPr lang="ru-RU" sz="1600" b="1" dirty="0">
              <a:solidFill>
                <a:schemeClr val="tx2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470655" y="1124744"/>
            <a:ext cx="7990117" cy="5400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just"/>
            <a:endParaRPr lang="ru-RU" sz="1400" dirty="0" smtClean="0">
              <a:solidFill>
                <a:srgbClr val="00B0F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0" algn="just"/>
            <a:r>
              <a:rPr lang="ru-RU" sz="1400" dirty="0" smtClean="0">
                <a:solidFill>
                  <a:srgbClr val="00B0F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ИСКИ </a:t>
            </a:r>
            <a:r>
              <a:rPr lang="ru-RU" sz="1400" dirty="0">
                <a:solidFill>
                  <a:srgbClr val="00B0F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ОНЦЕССИОННЫХ КОНКУРСОВ</a:t>
            </a:r>
          </a:p>
          <a:p>
            <a:pPr lvl="0" algn="just"/>
            <a:r>
              <a:rPr lang="ru-RU" sz="14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апрет на предъявление требований к опыту и квалификации участников концессионных конкурсов. Отсутствие требования «минимальной разумной цены» для предложений участников конкурса. Недооценка </a:t>
            </a:r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начения такого критерия, как показатели надежности, качества и энергетической </a:t>
            </a:r>
            <a:r>
              <a:rPr lang="ru-RU" sz="14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эффективности. </a:t>
            </a:r>
          </a:p>
          <a:p>
            <a:pPr lvl="0" algn="just"/>
            <a:endParaRPr lang="ru-RU" sz="1400" dirty="0" smtClean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0" algn="just"/>
            <a:r>
              <a:rPr lang="ru-RU" sz="1400" b="1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едложение</a:t>
            </a:r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 вернуться к установлению квалификационных требований к участникам концессионных конкурсов в отношении объектов ВиВ; предусмотреть для концессионных соглашений в сфере ЖКХ порядок установления организатором конкурса «минимальной разумной цены»; пересмотреть подход к оценке такого критерия, как показатели надежности, качества и энергетической эффективности, определив для них самостоятельное значение при определении победителя концессионного конкурса; </a:t>
            </a:r>
            <a:endParaRPr lang="ru-RU" sz="1400" dirty="0" smtClean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0" algn="just"/>
            <a:endParaRPr lang="ru-RU" sz="14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0" algn="just"/>
            <a:r>
              <a:rPr lang="ru-RU" sz="1400" dirty="0" smtClean="0">
                <a:solidFill>
                  <a:srgbClr val="00B0F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ТСУТСТВИЕ ДЕЙСТВЕННЫХ СТИМУЛОВ ДЛЯ ОРГАНОВ ВЛАСТИ СУБЪЕКТОВ РФ И ОРГАНОВ МЕСТНОГО САМОУПРАВЛЕНИЯ ПЕРЕДАВАТЬ ОБЪЕКТЫ ВКХ КОНЦЕССИОНАРАМ</a:t>
            </a:r>
          </a:p>
          <a:p>
            <a:pPr lvl="0" algn="just"/>
            <a:r>
              <a:rPr lang="ru-RU" sz="14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тсутствие механизмов урегулирования вопросов с кредиторами при передачи имущества концессионеру. Необходимость проведения техобследования, разработки и утверждении схем ВиВ. </a:t>
            </a:r>
            <a:r>
              <a:rPr lang="ru-RU" sz="140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тсутствие </a:t>
            </a:r>
            <a:r>
              <a:rPr lang="ru-RU" sz="14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юджетного поощрения крупных городов, привлекших крупного инвестора</a:t>
            </a:r>
          </a:p>
          <a:p>
            <a:pPr algn="just"/>
            <a:endParaRPr lang="ru-RU" sz="1400" b="1" dirty="0" smtClean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just"/>
            <a:r>
              <a:rPr lang="ru-RU" sz="1400" b="1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едложение</a:t>
            </a:r>
            <a:r>
              <a:rPr lang="ru-RU" sz="1400" b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 </a:t>
            </a:r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ссмотреть предложение об установлении возможности включения в конкурсную документацию в качестве условия или критерия конкурса требования к участникам конкурса выкупить задолженность унитарного </a:t>
            </a:r>
            <a:r>
              <a:rPr lang="ru-RU" sz="14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едприятия; бюджетное стимулирование успешных концедентов (софинансирование из федерального и регионального бюджетов расходов муниципалитета, привлекшего инвестора, на создание и реконструкцию объектов ВиВ)</a:t>
            </a:r>
            <a:endParaRPr lang="ru-RU" sz="14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0" algn="just"/>
            <a:endParaRPr lang="ru-RU" sz="14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1115616" y="980728"/>
            <a:ext cx="60486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Прямоугольник 9"/>
          <p:cNvSpPr/>
          <p:nvPr/>
        </p:nvSpPr>
        <p:spPr>
          <a:xfrm>
            <a:off x="467544" y="404664"/>
            <a:ext cx="211088" cy="432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dirty="0" smtClean="0">
                <a:solidFill>
                  <a:schemeClr val="accent1"/>
                </a:solidFill>
              </a:rPr>
              <a:t>6</a:t>
            </a:r>
            <a:endParaRPr lang="ru-RU" sz="24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26136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kumimoji="1" lang="en-US" b="1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D8DB4DE-ABE4-41C4-9199-B43AFD3799AD}" type="slidenum">
              <a:rPr kumimoji="1" lang="en-US" b="1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7</a:t>
            </a:fld>
            <a:endParaRPr kumimoji="1" lang="en-US" b="1"/>
          </a:p>
        </p:txBody>
      </p:sp>
      <p:sp>
        <p:nvSpPr>
          <p:cNvPr id="59396" name="TextBox 7"/>
          <p:cNvSpPr txBox="1">
            <a:spLocks noChangeArrowheads="1"/>
          </p:cNvSpPr>
          <p:nvPr/>
        </p:nvSpPr>
        <p:spPr bwMode="auto">
          <a:xfrm>
            <a:off x="928688" y="76200"/>
            <a:ext cx="6286500" cy="15696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kumimoji="1" sz="2800" b="1">
                <a:solidFill>
                  <a:schemeClr val="tx2"/>
                </a:solidFill>
                <a:latin typeface="Helvetica" pitchFamily="34" charset="0"/>
              </a:defRPr>
            </a:lvl1pPr>
            <a:lvl2pPr marL="742950" indent="-285750" eaLnBrk="0" hangingPunct="0">
              <a:defRPr kumimoji="1" sz="2800" b="1">
                <a:solidFill>
                  <a:schemeClr val="tx2"/>
                </a:solidFill>
                <a:latin typeface="Helvetica" pitchFamily="34" charset="0"/>
              </a:defRPr>
            </a:lvl2pPr>
            <a:lvl3pPr marL="1143000" indent="-228600" eaLnBrk="0" hangingPunct="0">
              <a:defRPr kumimoji="1" sz="2800" b="1">
                <a:solidFill>
                  <a:schemeClr val="tx2"/>
                </a:solidFill>
                <a:latin typeface="Helvetica" pitchFamily="34" charset="0"/>
              </a:defRPr>
            </a:lvl3pPr>
            <a:lvl4pPr marL="1600200" indent="-228600" eaLnBrk="0" hangingPunct="0">
              <a:defRPr kumimoji="1" sz="2800" b="1">
                <a:solidFill>
                  <a:schemeClr val="tx2"/>
                </a:solidFill>
                <a:latin typeface="Helvetica" pitchFamily="34" charset="0"/>
              </a:defRPr>
            </a:lvl4pPr>
            <a:lvl5pPr marL="2057400" indent="-228600" eaLnBrk="0" hangingPunct="0">
              <a:defRPr kumimoji="1" sz="2800" b="1">
                <a:solidFill>
                  <a:schemeClr val="tx2"/>
                </a:solidFill>
                <a:latin typeface="Helvetic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800" b="1">
                <a:solidFill>
                  <a:schemeClr val="tx2"/>
                </a:solidFill>
                <a:latin typeface="Helvetic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800" b="1">
                <a:solidFill>
                  <a:schemeClr val="tx2"/>
                </a:solidFill>
                <a:latin typeface="Helvetic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800" b="1">
                <a:solidFill>
                  <a:schemeClr val="tx2"/>
                </a:solidFill>
                <a:latin typeface="Helvetic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800" b="1">
                <a:solidFill>
                  <a:schemeClr val="tx2"/>
                </a:solidFill>
                <a:latin typeface="Helvetica" pitchFamily="34" charset="0"/>
              </a:defRPr>
            </a:lvl9pPr>
          </a:lstStyle>
          <a:p>
            <a:pPr algn="ctr">
              <a:lnSpc>
                <a:spcPct val="120000"/>
              </a:lnSpc>
              <a:buClr>
                <a:srgbClr val="CC3300"/>
              </a:buClr>
              <a:buSzPct val="80000"/>
            </a:pPr>
            <a:r>
              <a:rPr kumimoji="0" lang="ru-RU" altLang="ru-RU" sz="1600" dirty="0" smtClean="0">
                <a:solidFill>
                  <a:srgbClr val="004873"/>
                </a:solidFill>
                <a:latin typeface="Tahoma" pitchFamily="34" charset="0"/>
                <a:cs typeface="Tahoma" pitchFamily="34" charset="0"/>
              </a:rPr>
              <a:t> Создание при Правительстве РФ </a:t>
            </a:r>
          </a:p>
          <a:p>
            <a:pPr algn="ctr">
              <a:lnSpc>
                <a:spcPct val="120000"/>
              </a:lnSpc>
              <a:buClr>
                <a:srgbClr val="CC3300"/>
              </a:buClr>
              <a:buSzPct val="80000"/>
            </a:pPr>
            <a:r>
              <a:rPr kumimoji="0" lang="ru-RU" altLang="ru-RU" sz="1600" dirty="0" smtClean="0">
                <a:solidFill>
                  <a:srgbClr val="004873"/>
                </a:solidFill>
                <a:latin typeface="Tahoma" pitchFamily="34" charset="0"/>
                <a:cs typeface="Tahoma" pitchFamily="34" charset="0"/>
              </a:rPr>
              <a:t>Комиссии по вопросам развития </a:t>
            </a:r>
          </a:p>
          <a:p>
            <a:pPr algn="ctr">
              <a:lnSpc>
                <a:spcPct val="120000"/>
              </a:lnSpc>
              <a:buClr>
                <a:srgbClr val="CC3300"/>
              </a:buClr>
              <a:buSzPct val="80000"/>
            </a:pPr>
            <a:r>
              <a:rPr kumimoji="0" lang="ru-RU" altLang="ru-RU" sz="1600" dirty="0" smtClean="0">
                <a:solidFill>
                  <a:srgbClr val="004873"/>
                </a:solidFill>
                <a:latin typeface="Tahoma" pitchFamily="34" charset="0"/>
                <a:cs typeface="Tahoma" pitchFamily="34" charset="0"/>
              </a:rPr>
              <a:t>жилищно-коммунального комплекса</a:t>
            </a:r>
          </a:p>
          <a:p>
            <a:pPr algn="ctr">
              <a:lnSpc>
                <a:spcPct val="120000"/>
              </a:lnSpc>
              <a:buClr>
                <a:srgbClr val="CC3300"/>
              </a:buClr>
              <a:buSzPct val="80000"/>
            </a:pPr>
            <a:r>
              <a:rPr kumimoji="0" lang="ru-RU" altLang="ru-RU" sz="1600" dirty="0" smtClean="0">
                <a:solidFill>
                  <a:srgbClr val="004873"/>
                </a:solidFill>
                <a:latin typeface="Tahoma" pitchFamily="34" charset="0"/>
                <a:cs typeface="Tahoma" pitchFamily="34" charset="0"/>
              </a:rPr>
              <a:t>  </a:t>
            </a:r>
            <a:endParaRPr kumimoji="0" lang="ru-RU" altLang="ru-RU" sz="1600" dirty="0">
              <a:solidFill>
                <a:srgbClr val="004873"/>
              </a:solidFill>
              <a:latin typeface="Tahoma" pitchFamily="34" charset="0"/>
              <a:cs typeface="Tahoma" pitchFamily="34" charset="0"/>
            </a:endParaRPr>
          </a:p>
          <a:p>
            <a:pPr algn="ctr">
              <a:lnSpc>
                <a:spcPct val="120000"/>
              </a:lnSpc>
              <a:buClr>
                <a:srgbClr val="CC3300"/>
              </a:buClr>
              <a:buSzPct val="80000"/>
            </a:pPr>
            <a:r>
              <a:rPr kumimoji="0" lang="ru-RU" altLang="ru-RU" sz="1600" dirty="0" smtClean="0">
                <a:solidFill>
                  <a:srgbClr val="004873"/>
                </a:solidFill>
                <a:latin typeface="Tahoma" pitchFamily="34" charset="0"/>
                <a:cs typeface="Tahoma" pitchFamily="34" charset="0"/>
              </a:rPr>
              <a:t>  </a:t>
            </a:r>
            <a:endParaRPr kumimoji="0" lang="ru-RU" altLang="ru-RU" sz="1600" dirty="0">
              <a:solidFill>
                <a:srgbClr val="004873"/>
              </a:solidFill>
              <a:latin typeface="Tahoma" pitchFamily="34" charset="0"/>
              <a:cs typeface="Tahoma" pitchFamily="34" charset="0"/>
            </a:endParaRPr>
          </a:p>
        </p:txBody>
      </p:sp>
      <p:cxnSp>
        <p:nvCxnSpPr>
          <p:cNvPr id="59397" name="Прямая соединительная линия 9"/>
          <p:cNvCxnSpPr>
            <a:cxnSpLocks noChangeShapeType="1"/>
          </p:cNvCxnSpPr>
          <p:nvPr/>
        </p:nvCxnSpPr>
        <p:spPr bwMode="auto">
          <a:xfrm>
            <a:off x="1125538" y="1052736"/>
            <a:ext cx="5892800" cy="1588"/>
          </a:xfrm>
          <a:prstGeom prst="line">
            <a:avLst/>
          </a:prstGeom>
          <a:noFill/>
          <a:ln w="9525" algn="ctr">
            <a:solidFill>
              <a:srgbClr val="0047B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" name="Прямоугольник 1"/>
          <p:cNvSpPr/>
          <p:nvPr/>
        </p:nvSpPr>
        <p:spPr>
          <a:xfrm>
            <a:off x="345300" y="1069796"/>
            <a:ext cx="7683085" cy="5760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rgbClr val="008DC0"/>
                </a:solidFill>
                <a:latin typeface="Tahoma" pitchFamily="34" charset="0"/>
                <a:cs typeface="Tahoma" pitchFamily="34" charset="0"/>
              </a:rPr>
              <a:t>ПРЕДПОСЫЛКИ СОЗДАНИЯ КООРДИНАЦИОННОГО ОРГАНА ПРИ ПРАВИТЕЛЬСТВЕ РФ:</a:t>
            </a:r>
            <a:endParaRPr lang="ru-RU" sz="1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586442" y="1657692"/>
            <a:ext cx="7200799" cy="37444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4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 проводимые сегодня преобразования жилищно-коммунального хозяйства формируют основу развития отрасли на долгосрочную перспективу;</a:t>
            </a:r>
          </a:p>
          <a:p>
            <a:pPr algn="just"/>
            <a:endParaRPr lang="ru-RU" sz="1400" dirty="0" smtClean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just"/>
            <a:r>
              <a:rPr lang="ru-RU" sz="14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 одним из главных условий реформирования жилищно-коммунального хозяйства является последовательное и точное выполнение планов, намеченных руководством страны, включая практическую реализацию органами власти субъектов РФ и органами местного самоуправления подходов и механизмов, предусмотренных законодательством РФ;</a:t>
            </a:r>
          </a:p>
          <a:p>
            <a:pPr algn="just"/>
            <a:endParaRPr lang="ru-RU" sz="1400" dirty="0" smtClean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just"/>
            <a:r>
              <a:rPr lang="ru-RU" sz="14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 в настоящее время особое внимание требуется вопросам своевременной подготовки необходимых нормативных правовых актов, направленных на повышение эффективности жилищно-коммунального комплекса;</a:t>
            </a:r>
          </a:p>
          <a:p>
            <a:pPr algn="just"/>
            <a:endParaRPr lang="ru-RU" sz="1400" dirty="0" smtClean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just"/>
            <a:r>
              <a:rPr lang="ru-RU" sz="14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 отсутствует координационный орган при Правительстве РФ по вопросам развития жилищно-коммунального хозяйства. </a:t>
            </a:r>
            <a:endParaRPr lang="ru-RU" sz="14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442426" y="349626"/>
            <a:ext cx="288032" cy="5283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dirty="0">
                <a:solidFill>
                  <a:schemeClr val="accent1"/>
                </a:solidFill>
              </a:rPr>
              <a:t>7</a:t>
            </a:r>
            <a:endParaRPr lang="ru-RU" sz="24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61264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kumimoji="1" lang="en-US" b="1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D8DB4DE-ABE4-41C4-9199-B43AFD3799AD}" type="slidenum">
              <a:rPr kumimoji="1" lang="en-US" b="1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8</a:t>
            </a:fld>
            <a:endParaRPr kumimoji="1" lang="en-US" b="1"/>
          </a:p>
        </p:txBody>
      </p:sp>
      <p:sp>
        <p:nvSpPr>
          <p:cNvPr id="59396" name="TextBox 7"/>
          <p:cNvSpPr txBox="1">
            <a:spLocks noChangeArrowheads="1"/>
          </p:cNvSpPr>
          <p:nvPr/>
        </p:nvSpPr>
        <p:spPr bwMode="auto">
          <a:xfrm>
            <a:off x="928688" y="76200"/>
            <a:ext cx="6286500" cy="15696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kumimoji="1" sz="2800" b="1">
                <a:solidFill>
                  <a:schemeClr val="tx2"/>
                </a:solidFill>
                <a:latin typeface="Helvetica" pitchFamily="34" charset="0"/>
              </a:defRPr>
            </a:lvl1pPr>
            <a:lvl2pPr marL="742950" indent="-285750" eaLnBrk="0" hangingPunct="0">
              <a:defRPr kumimoji="1" sz="2800" b="1">
                <a:solidFill>
                  <a:schemeClr val="tx2"/>
                </a:solidFill>
                <a:latin typeface="Helvetica" pitchFamily="34" charset="0"/>
              </a:defRPr>
            </a:lvl2pPr>
            <a:lvl3pPr marL="1143000" indent="-228600" eaLnBrk="0" hangingPunct="0">
              <a:defRPr kumimoji="1" sz="2800" b="1">
                <a:solidFill>
                  <a:schemeClr val="tx2"/>
                </a:solidFill>
                <a:latin typeface="Helvetica" pitchFamily="34" charset="0"/>
              </a:defRPr>
            </a:lvl3pPr>
            <a:lvl4pPr marL="1600200" indent="-228600" eaLnBrk="0" hangingPunct="0">
              <a:defRPr kumimoji="1" sz="2800" b="1">
                <a:solidFill>
                  <a:schemeClr val="tx2"/>
                </a:solidFill>
                <a:latin typeface="Helvetica" pitchFamily="34" charset="0"/>
              </a:defRPr>
            </a:lvl4pPr>
            <a:lvl5pPr marL="2057400" indent="-228600" eaLnBrk="0" hangingPunct="0">
              <a:defRPr kumimoji="1" sz="2800" b="1">
                <a:solidFill>
                  <a:schemeClr val="tx2"/>
                </a:solidFill>
                <a:latin typeface="Helvetic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800" b="1">
                <a:solidFill>
                  <a:schemeClr val="tx2"/>
                </a:solidFill>
                <a:latin typeface="Helvetic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800" b="1">
                <a:solidFill>
                  <a:schemeClr val="tx2"/>
                </a:solidFill>
                <a:latin typeface="Helvetic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800" b="1">
                <a:solidFill>
                  <a:schemeClr val="tx2"/>
                </a:solidFill>
                <a:latin typeface="Helvetic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800" b="1">
                <a:solidFill>
                  <a:schemeClr val="tx2"/>
                </a:solidFill>
                <a:latin typeface="Helvetica" pitchFamily="34" charset="0"/>
              </a:defRPr>
            </a:lvl9pPr>
          </a:lstStyle>
          <a:p>
            <a:pPr algn="ctr">
              <a:lnSpc>
                <a:spcPct val="120000"/>
              </a:lnSpc>
              <a:buClr>
                <a:srgbClr val="CC3300"/>
              </a:buClr>
              <a:buSzPct val="80000"/>
            </a:pPr>
            <a:r>
              <a:rPr kumimoji="0" lang="ru-RU" altLang="ru-RU" sz="1600" dirty="0" smtClean="0">
                <a:solidFill>
                  <a:srgbClr val="004873"/>
                </a:solidFill>
                <a:latin typeface="Tahoma" pitchFamily="34" charset="0"/>
                <a:cs typeface="Tahoma" pitchFamily="34" charset="0"/>
              </a:rPr>
              <a:t> Создание при Правительстве РФ </a:t>
            </a:r>
          </a:p>
          <a:p>
            <a:pPr algn="ctr">
              <a:lnSpc>
                <a:spcPct val="120000"/>
              </a:lnSpc>
              <a:buClr>
                <a:srgbClr val="CC3300"/>
              </a:buClr>
              <a:buSzPct val="80000"/>
            </a:pPr>
            <a:r>
              <a:rPr kumimoji="0" lang="ru-RU" altLang="ru-RU" sz="1600" dirty="0" smtClean="0">
                <a:solidFill>
                  <a:srgbClr val="004873"/>
                </a:solidFill>
                <a:latin typeface="Tahoma" pitchFamily="34" charset="0"/>
                <a:cs typeface="Tahoma" pitchFamily="34" charset="0"/>
              </a:rPr>
              <a:t>Комиссии по вопросам развития </a:t>
            </a:r>
          </a:p>
          <a:p>
            <a:pPr algn="ctr">
              <a:lnSpc>
                <a:spcPct val="120000"/>
              </a:lnSpc>
              <a:buClr>
                <a:srgbClr val="CC3300"/>
              </a:buClr>
              <a:buSzPct val="80000"/>
            </a:pPr>
            <a:r>
              <a:rPr kumimoji="0" lang="ru-RU" altLang="ru-RU" sz="1600" dirty="0" smtClean="0">
                <a:solidFill>
                  <a:srgbClr val="004873"/>
                </a:solidFill>
                <a:latin typeface="Tahoma" pitchFamily="34" charset="0"/>
                <a:cs typeface="Tahoma" pitchFamily="34" charset="0"/>
              </a:rPr>
              <a:t>жилищно-коммунального комплекса</a:t>
            </a:r>
          </a:p>
          <a:p>
            <a:pPr algn="ctr">
              <a:lnSpc>
                <a:spcPct val="120000"/>
              </a:lnSpc>
              <a:buClr>
                <a:srgbClr val="CC3300"/>
              </a:buClr>
              <a:buSzPct val="80000"/>
            </a:pPr>
            <a:r>
              <a:rPr kumimoji="0" lang="ru-RU" altLang="ru-RU" sz="1600" dirty="0" smtClean="0">
                <a:solidFill>
                  <a:srgbClr val="004873"/>
                </a:solidFill>
                <a:latin typeface="Tahoma" pitchFamily="34" charset="0"/>
                <a:cs typeface="Tahoma" pitchFamily="34" charset="0"/>
              </a:rPr>
              <a:t>  </a:t>
            </a:r>
            <a:endParaRPr kumimoji="0" lang="ru-RU" altLang="ru-RU" sz="1600" dirty="0">
              <a:solidFill>
                <a:srgbClr val="004873"/>
              </a:solidFill>
              <a:latin typeface="Tahoma" pitchFamily="34" charset="0"/>
              <a:cs typeface="Tahoma" pitchFamily="34" charset="0"/>
            </a:endParaRPr>
          </a:p>
          <a:p>
            <a:pPr algn="ctr">
              <a:lnSpc>
                <a:spcPct val="120000"/>
              </a:lnSpc>
              <a:buClr>
                <a:srgbClr val="CC3300"/>
              </a:buClr>
              <a:buSzPct val="80000"/>
            </a:pPr>
            <a:r>
              <a:rPr kumimoji="0" lang="ru-RU" altLang="ru-RU" sz="1600" dirty="0" smtClean="0">
                <a:solidFill>
                  <a:srgbClr val="004873"/>
                </a:solidFill>
                <a:latin typeface="Tahoma" pitchFamily="34" charset="0"/>
                <a:cs typeface="Tahoma" pitchFamily="34" charset="0"/>
              </a:rPr>
              <a:t>  </a:t>
            </a:r>
            <a:endParaRPr kumimoji="0" lang="ru-RU" altLang="ru-RU" sz="1600" dirty="0">
              <a:solidFill>
                <a:srgbClr val="004873"/>
              </a:solidFill>
              <a:latin typeface="Tahoma" pitchFamily="34" charset="0"/>
              <a:cs typeface="Tahoma" pitchFamily="34" charset="0"/>
            </a:endParaRPr>
          </a:p>
        </p:txBody>
      </p:sp>
      <p:cxnSp>
        <p:nvCxnSpPr>
          <p:cNvPr id="59397" name="Прямая соединительная линия 9"/>
          <p:cNvCxnSpPr>
            <a:cxnSpLocks noChangeShapeType="1"/>
          </p:cNvCxnSpPr>
          <p:nvPr/>
        </p:nvCxnSpPr>
        <p:spPr bwMode="auto">
          <a:xfrm>
            <a:off x="1125538" y="1052736"/>
            <a:ext cx="5892800" cy="1588"/>
          </a:xfrm>
          <a:prstGeom prst="line">
            <a:avLst/>
          </a:prstGeom>
          <a:noFill/>
          <a:ln w="9525" algn="ctr">
            <a:solidFill>
              <a:srgbClr val="0047B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" name="Прямоугольник 1"/>
          <p:cNvSpPr/>
          <p:nvPr/>
        </p:nvSpPr>
        <p:spPr>
          <a:xfrm>
            <a:off x="329681" y="1196752"/>
            <a:ext cx="7683085" cy="5760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rgbClr val="008DC0"/>
                </a:solidFill>
                <a:latin typeface="Tahoma" pitchFamily="34" charset="0"/>
                <a:cs typeface="Tahoma" pitchFamily="34" charset="0"/>
              </a:rPr>
              <a:t> ОСНОВНЫЕ ЗАДАЧИ КОМИССИИ:  </a:t>
            </a:r>
            <a:endParaRPr lang="ru-RU" sz="1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655102" y="1772816"/>
            <a:ext cx="7517298" cy="43204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4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 </a:t>
            </a:r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ссмотрение и подготовка предложений о реализации решений Президента РФ и Правительства РФ по повышению темпов модернизации коммунальной инфраструктуры, привлечению инвестиций в развитие жилищно-коммунального комплекса</a:t>
            </a:r>
            <a:r>
              <a:rPr lang="ru-RU" sz="14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;</a:t>
            </a:r>
          </a:p>
          <a:p>
            <a:pPr algn="just"/>
            <a:r>
              <a:rPr lang="ru-RU" sz="14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 обеспечение согласованных действий органов исполнительной власти по разработке и реализации основных направлений государственной политики в сфере жилищно-коммунального хозяйства;</a:t>
            </a:r>
          </a:p>
          <a:p>
            <a:pPr algn="just"/>
            <a:r>
              <a:rPr lang="ru-RU" sz="14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 </a:t>
            </a:r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рганизация эффективного взаимодействия заинтересованных федеральных органов исполнительной власти и организаций в сфере жилищно-коммунального хозяйства;</a:t>
            </a:r>
          </a:p>
          <a:p>
            <a:pPr algn="just"/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 предварительное рассмотрение проектов законодательных и других нормативных правовых актов, связанных с вопросами организации жилищно-коммунального комплекса и его развитие, а также улучшения качества жилищно-коммунальных услуг и условий ведения предпринимательской деятельности;</a:t>
            </a:r>
          </a:p>
          <a:p>
            <a:pPr algn="just"/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 рассмотрение предложений по вопросам государственного тарифного регулирования и решению вопросов укрепления платежной дисциплины в жилищно-коммунальном хозяйстве;</a:t>
            </a:r>
          </a:p>
          <a:p>
            <a:pPr algn="just"/>
            <a:r>
              <a:rPr lang="ru-RU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 подготовка (ежегодных) докладов по вопросам состояния жилищно-коммунального комплекса и перспектив его развития, об итогах реализации государственной политики в сфере жилищно-коммунального хозяйства.</a:t>
            </a:r>
          </a:p>
          <a:p>
            <a:pPr algn="just"/>
            <a:endParaRPr lang="ru-RU" sz="14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432957" y="332656"/>
            <a:ext cx="259566" cy="5283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dirty="0">
                <a:solidFill>
                  <a:schemeClr val="accent1"/>
                </a:solidFill>
              </a:rPr>
              <a:t>8</a:t>
            </a:r>
            <a:endParaRPr lang="ru-RU" sz="24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77436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kumimoji="1" lang="en-US" b="1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D8DB4DE-ABE4-41C4-9199-B43AFD3799AD}" type="slidenum">
              <a:rPr kumimoji="1" lang="en-US" b="1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9</a:t>
            </a:fld>
            <a:endParaRPr kumimoji="1" lang="en-US" b="1"/>
          </a:p>
        </p:txBody>
      </p:sp>
      <p:sp>
        <p:nvSpPr>
          <p:cNvPr id="59396" name="TextBox 7"/>
          <p:cNvSpPr txBox="1">
            <a:spLocks noChangeArrowheads="1"/>
          </p:cNvSpPr>
          <p:nvPr/>
        </p:nvSpPr>
        <p:spPr bwMode="auto">
          <a:xfrm>
            <a:off x="928688" y="76200"/>
            <a:ext cx="6286500" cy="6832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kumimoji="1" sz="2800" b="1">
                <a:solidFill>
                  <a:schemeClr val="tx2"/>
                </a:solidFill>
                <a:latin typeface="Helvetica" pitchFamily="34" charset="0"/>
              </a:defRPr>
            </a:lvl1pPr>
            <a:lvl2pPr marL="742950" indent="-285750" eaLnBrk="0" hangingPunct="0">
              <a:defRPr kumimoji="1" sz="2800" b="1">
                <a:solidFill>
                  <a:schemeClr val="tx2"/>
                </a:solidFill>
                <a:latin typeface="Helvetica" pitchFamily="34" charset="0"/>
              </a:defRPr>
            </a:lvl2pPr>
            <a:lvl3pPr marL="1143000" indent="-228600" eaLnBrk="0" hangingPunct="0">
              <a:defRPr kumimoji="1" sz="2800" b="1">
                <a:solidFill>
                  <a:schemeClr val="tx2"/>
                </a:solidFill>
                <a:latin typeface="Helvetica" pitchFamily="34" charset="0"/>
              </a:defRPr>
            </a:lvl3pPr>
            <a:lvl4pPr marL="1600200" indent="-228600" eaLnBrk="0" hangingPunct="0">
              <a:defRPr kumimoji="1" sz="2800" b="1">
                <a:solidFill>
                  <a:schemeClr val="tx2"/>
                </a:solidFill>
                <a:latin typeface="Helvetica" pitchFamily="34" charset="0"/>
              </a:defRPr>
            </a:lvl4pPr>
            <a:lvl5pPr marL="2057400" indent="-228600" eaLnBrk="0" hangingPunct="0">
              <a:defRPr kumimoji="1" sz="2800" b="1">
                <a:solidFill>
                  <a:schemeClr val="tx2"/>
                </a:solidFill>
                <a:latin typeface="Helvetic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800" b="1">
                <a:solidFill>
                  <a:schemeClr val="tx2"/>
                </a:solidFill>
                <a:latin typeface="Helvetic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800" b="1">
                <a:solidFill>
                  <a:schemeClr val="tx2"/>
                </a:solidFill>
                <a:latin typeface="Helvetic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800" b="1">
                <a:solidFill>
                  <a:schemeClr val="tx2"/>
                </a:solidFill>
                <a:latin typeface="Helvetic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800" b="1">
                <a:solidFill>
                  <a:schemeClr val="tx2"/>
                </a:solidFill>
                <a:latin typeface="Helvetica" pitchFamily="34" charset="0"/>
              </a:defRPr>
            </a:lvl9pPr>
          </a:lstStyle>
          <a:p>
            <a:pPr algn="ctr">
              <a:lnSpc>
                <a:spcPct val="120000"/>
              </a:lnSpc>
              <a:buClr>
                <a:srgbClr val="CC3300"/>
              </a:buClr>
              <a:buSzPct val="80000"/>
            </a:pPr>
            <a:r>
              <a:rPr kumimoji="0" lang="ru-RU" altLang="ru-RU" sz="1600" dirty="0" smtClean="0">
                <a:solidFill>
                  <a:srgbClr val="004873"/>
                </a:solidFill>
                <a:latin typeface="Tahoma" pitchFamily="34" charset="0"/>
                <a:cs typeface="Tahoma" pitchFamily="34" charset="0"/>
              </a:rPr>
              <a:t>   </a:t>
            </a:r>
            <a:endParaRPr kumimoji="0" lang="ru-RU" altLang="ru-RU" sz="1600" dirty="0">
              <a:solidFill>
                <a:srgbClr val="004873"/>
              </a:solidFill>
              <a:latin typeface="Tahoma" pitchFamily="34" charset="0"/>
              <a:cs typeface="Tahoma" pitchFamily="34" charset="0"/>
            </a:endParaRPr>
          </a:p>
          <a:p>
            <a:pPr algn="ctr">
              <a:lnSpc>
                <a:spcPct val="120000"/>
              </a:lnSpc>
              <a:buClr>
                <a:srgbClr val="CC3300"/>
              </a:buClr>
              <a:buSzPct val="80000"/>
            </a:pPr>
            <a:r>
              <a:rPr kumimoji="0" lang="ru-RU" altLang="ru-RU" sz="1600" dirty="0" smtClean="0">
                <a:solidFill>
                  <a:srgbClr val="004873"/>
                </a:solidFill>
                <a:latin typeface="Tahoma" pitchFamily="34" charset="0"/>
                <a:cs typeface="Tahoma" pitchFamily="34" charset="0"/>
              </a:rPr>
              <a:t>  </a:t>
            </a:r>
            <a:endParaRPr kumimoji="0" lang="ru-RU" altLang="ru-RU" sz="1600" dirty="0">
              <a:solidFill>
                <a:srgbClr val="004873"/>
              </a:solidFill>
              <a:latin typeface="Tahoma" pitchFamily="34" charset="0"/>
              <a:cs typeface="Tahoma" pitchFamily="34" charset="0"/>
            </a:endParaRPr>
          </a:p>
        </p:txBody>
      </p:sp>
      <p:cxnSp>
        <p:nvCxnSpPr>
          <p:cNvPr id="59397" name="Прямая соединительная линия 9"/>
          <p:cNvCxnSpPr>
            <a:cxnSpLocks noChangeShapeType="1"/>
          </p:cNvCxnSpPr>
          <p:nvPr/>
        </p:nvCxnSpPr>
        <p:spPr bwMode="auto">
          <a:xfrm>
            <a:off x="1125538" y="1052736"/>
            <a:ext cx="5892800" cy="1588"/>
          </a:xfrm>
          <a:prstGeom prst="line">
            <a:avLst/>
          </a:prstGeom>
          <a:noFill/>
          <a:ln w="9525" algn="ctr">
            <a:solidFill>
              <a:srgbClr val="0047BA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" name="Прямоугольник 1"/>
          <p:cNvSpPr/>
          <p:nvPr/>
        </p:nvSpPr>
        <p:spPr>
          <a:xfrm>
            <a:off x="329681" y="1196752"/>
            <a:ext cx="7683085" cy="5760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898600" y="2852936"/>
            <a:ext cx="7619259" cy="12241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 smtClean="0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пасибо за внимание</a:t>
            </a:r>
            <a:endParaRPr lang="ru-RU" sz="2400" b="1" dirty="0">
              <a:solidFill>
                <a:schemeClr val="tx2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329681" y="332656"/>
            <a:ext cx="497903" cy="5283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dirty="0">
                <a:solidFill>
                  <a:schemeClr val="accent1"/>
                </a:solidFill>
              </a:rPr>
              <a:t>9</a:t>
            </a:r>
            <a:endParaRPr lang="ru-RU" sz="24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55932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q0RDd7hKEqJyp0gMhrZv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iQS7rgxs02ReYZQgkt_p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t5rQKVpE0CuruSIqb5CQ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pTqhuy..Ea8speJo_ne.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t0VU1r_PkyEwdosuM2zf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vdlyQ0t0.x_2ZuPwwW.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SIPVCH3bEyOcUYPGHw9W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GVIYfTzUmaTGvWp4GAX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unfXgfq0y4nf6m9Gd5X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o3m9NNET0SlYVxAaccfzQ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11</TotalTime>
  <Words>1048</Words>
  <Application>Microsoft Office PowerPoint</Application>
  <PresentationFormat>Экран (4:3)</PresentationFormat>
  <Paragraphs>112</Paragraphs>
  <Slides>9</Slides>
  <Notes>1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9</vt:i4>
      </vt:variant>
    </vt:vector>
  </HeadingPairs>
  <TitlesOfParts>
    <vt:vector size="11" baseType="lpstr">
      <vt:lpstr>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Малюга Михаил Юрьевич</dc:creator>
  <cp:lastModifiedBy>Малюга Михаил Юрьевич</cp:lastModifiedBy>
  <cp:revision>65</cp:revision>
  <dcterms:created xsi:type="dcterms:W3CDTF">2014-11-05T08:29:02Z</dcterms:created>
  <dcterms:modified xsi:type="dcterms:W3CDTF">2014-11-10T13:39:56Z</dcterms:modified>
</cp:coreProperties>
</file>